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316" r:id="rId2"/>
    <p:sldId id="429" r:id="rId3"/>
    <p:sldId id="430" r:id="rId4"/>
    <p:sldId id="10021" r:id="rId5"/>
    <p:sldId id="10018" r:id="rId6"/>
    <p:sldId id="10020" r:id="rId7"/>
    <p:sldId id="10019" r:id="rId8"/>
    <p:sldId id="501" r:id="rId9"/>
    <p:sldId id="29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798" autoAdjust="0"/>
  </p:normalViewPr>
  <p:slideViewPr>
    <p:cSldViewPr snapToGrid="0">
      <p:cViewPr>
        <p:scale>
          <a:sx n="100" d="100"/>
          <a:sy n="100" d="100"/>
        </p:scale>
        <p:origin x="9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A5478E-A00C-43E8-904B-47C2DA278E93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C7CE67-3F1A-457A-B768-1EBCB1F006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94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171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771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>
                <a:effectLst/>
                <a:latin typeface="-apple-system"/>
              </a:rPr>
              <a:t>当前</a:t>
            </a:r>
            <a:r>
              <a:rPr lang="en-US" altLang="zh-CN" dirty="0" err="1">
                <a:effectLst/>
                <a:latin typeface="-apple-system"/>
              </a:rPr>
              <a:t>edm</a:t>
            </a:r>
            <a:r>
              <a:rPr lang="zh-CN" altLang="en-US" dirty="0">
                <a:effectLst/>
                <a:latin typeface="-apple-system"/>
              </a:rPr>
              <a:t>处理很耗时</a:t>
            </a:r>
            <a:endParaRPr lang="en-US" dirty="0">
              <a:effectLst/>
              <a:latin typeface="-apple-system"/>
            </a:endParaRPr>
          </a:p>
          <a:p>
            <a:pPr rtl="0"/>
            <a:r>
              <a:rPr lang="en-US" dirty="0">
                <a:effectLst/>
                <a:latin typeface="-apple-system"/>
              </a:rPr>
              <a:t>[Yesterday 5:03 PM] Derek Lan</a:t>
            </a:r>
          </a:p>
          <a:p>
            <a:pPr rtl="0"/>
            <a:r>
              <a:rPr lang="zh-CN" altLang="en-US" dirty="0">
                <a:effectLst/>
                <a:latin typeface="-apple-system"/>
              </a:rPr>
              <a:t>就是我们一共去年是</a:t>
            </a:r>
            <a:r>
              <a:rPr lang="en-US" altLang="zh-CN" dirty="0">
                <a:effectLst/>
                <a:latin typeface="-apple-system"/>
              </a:rPr>
              <a:t>1694</a:t>
            </a:r>
            <a:r>
              <a:rPr lang="zh-CN" altLang="en-US" dirty="0">
                <a:effectLst/>
                <a:latin typeface="-apple-system"/>
              </a:rPr>
              <a:t>个会议，其中包括</a:t>
            </a:r>
            <a:r>
              <a:rPr lang="en-US" dirty="0">
                <a:effectLst/>
                <a:latin typeface="-apple-system"/>
              </a:rPr>
              <a:t>class c </a:t>
            </a:r>
            <a:r>
              <a:rPr lang="zh-CN" altLang="en-US" dirty="0">
                <a:effectLst/>
                <a:latin typeface="-apple-system"/>
              </a:rPr>
              <a:t>和</a:t>
            </a:r>
            <a:r>
              <a:rPr lang="en-US" dirty="0">
                <a:effectLst/>
                <a:latin typeface="-apple-system"/>
              </a:rPr>
              <a:t>po。</a:t>
            </a:r>
            <a:r>
              <a:rPr lang="zh-CN" altLang="en-US" dirty="0">
                <a:effectLst/>
                <a:latin typeface="-apple-system"/>
              </a:rPr>
              <a:t>咱们做这个是</a:t>
            </a:r>
            <a:r>
              <a:rPr lang="en-US" dirty="0">
                <a:effectLst/>
                <a:latin typeface="-apple-system"/>
              </a:rPr>
              <a:t>class c </a:t>
            </a:r>
            <a:r>
              <a:rPr lang="zh-CN" altLang="en-US" dirty="0">
                <a:effectLst/>
                <a:latin typeface="-apple-system"/>
              </a:rPr>
              <a:t>但是其实</a:t>
            </a:r>
            <a:r>
              <a:rPr lang="en-US" dirty="0">
                <a:effectLst/>
                <a:latin typeface="-apple-system"/>
              </a:rPr>
              <a:t>PO</a:t>
            </a:r>
            <a:r>
              <a:rPr lang="zh-CN" altLang="en-US" dirty="0">
                <a:effectLst/>
                <a:latin typeface="-apple-system"/>
              </a:rPr>
              <a:t>可以直接拿来用。每个人每个会议 我们现在是</a:t>
            </a:r>
            <a:r>
              <a:rPr lang="en-US" dirty="0">
                <a:effectLst/>
                <a:latin typeface="-apple-system"/>
              </a:rPr>
              <a:t>class c</a:t>
            </a:r>
            <a:r>
              <a:rPr lang="zh-CN" altLang="en-US" dirty="0">
                <a:effectLst/>
                <a:latin typeface="-apple-system"/>
              </a:rPr>
              <a:t>按照</a:t>
            </a:r>
            <a:r>
              <a:rPr lang="en-US" altLang="zh-CN" dirty="0">
                <a:effectLst/>
                <a:latin typeface="-apple-system"/>
              </a:rPr>
              <a:t>60</a:t>
            </a:r>
            <a:r>
              <a:rPr lang="en-US" dirty="0">
                <a:effectLst/>
                <a:latin typeface="-apple-system"/>
              </a:rPr>
              <a:t>mins </a:t>
            </a:r>
            <a:r>
              <a:rPr lang="zh-CN" altLang="en-US" dirty="0">
                <a:effectLst/>
                <a:latin typeface="-apple-system"/>
              </a:rPr>
              <a:t>然后</a:t>
            </a:r>
            <a:r>
              <a:rPr lang="en-US" dirty="0">
                <a:effectLst/>
                <a:latin typeface="-apple-system"/>
              </a:rPr>
              <a:t>Po </a:t>
            </a:r>
            <a:r>
              <a:rPr lang="zh-CN" altLang="en-US" dirty="0">
                <a:effectLst/>
                <a:latin typeface="-apple-system"/>
              </a:rPr>
              <a:t>是</a:t>
            </a:r>
            <a:r>
              <a:rPr lang="en-US" altLang="zh-CN" dirty="0">
                <a:effectLst/>
                <a:latin typeface="-apple-system"/>
              </a:rPr>
              <a:t>30</a:t>
            </a:r>
            <a:r>
              <a:rPr lang="en-US" dirty="0">
                <a:effectLst/>
                <a:latin typeface="-apple-system"/>
              </a:rPr>
              <a:t>mins</a:t>
            </a:r>
            <a:r>
              <a:rPr lang="zh-CN" altLang="en-US" dirty="0">
                <a:effectLst/>
                <a:latin typeface="-apple-system"/>
              </a:rPr>
              <a:t>计算的。一天要</a:t>
            </a:r>
            <a:r>
              <a:rPr lang="en-US" dirty="0">
                <a:effectLst/>
                <a:latin typeface="-apple-system"/>
              </a:rPr>
              <a:t>check</a:t>
            </a:r>
            <a:r>
              <a:rPr lang="zh-CN" altLang="en-US" dirty="0">
                <a:effectLst/>
                <a:latin typeface="-apple-system"/>
              </a:rPr>
              <a:t>多少个 这个没有个说法 有的时候好几天没有 有的时候一天</a:t>
            </a:r>
            <a:r>
              <a:rPr lang="en-US" altLang="zh-CN" dirty="0">
                <a:effectLst/>
                <a:latin typeface="-apple-system"/>
              </a:rPr>
              <a:t>7 8 </a:t>
            </a:r>
            <a:r>
              <a:rPr lang="zh-CN" altLang="en-US" dirty="0">
                <a:effectLst/>
                <a:latin typeface="-apple-system"/>
              </a:rPr>
              <a:t>个。</a:t>
            </a:r>
          </a:p>
          <a:p>
            <a:pPr rtl="0"/>
            <a:r>
              <a:rPr lang="en-US" altLang="zh-CN" dirty="0">
                <a:effectLst/>
                <a:latin typeface="-apple-system"/>
              </a:rPr>
              <a:t>[</a:t>
            </a:r>
            <a:r>
              <a:rPr lang="en-US" dirty="0">
                <a:effectLst/>
                <a:latin typeface="-apple-system"/>
              </a:rPr>
              <a:t>Yesterday 5:05 PM] Derek Lan</a:t>
            </a:r>
          </a:p>
          <a:p>
            <a:pPr rtl="0"/>
            <a:r>
              <a:rPr lang="en-US" dirty="0">
                <a:effectLst/>
                <a:latin typeface="-apple-system"/>
              </a:rPr>
              <a:t>1694 class c </a:t>
            </a:r>
            <a:r>
              <a:rPr lang="zh-CN" altLang="en-US" dirty="0">
                <a:effectLst/>
                <a:latin typeface="-apple-system"/>
              </a:rPr>
              <a:t>能有个</a:t>
            </a:r>
            <a:r>
              <a:rPr lang="en-US" altLang="zh-CN" dirty="0">
                <a:effectLst/>
                <a:latin typeface="-apple-system"/>
              </a:rPr>
              <a:t>1153</a:t>
            </a:r>
            <a:r>
              <a:rPr lang="zh-CN" altLang="en-US" dirty="0">
                <a:effectLst/>
                <a:latin typeface="-apple-system"/>
              </a:rPr>
              <a:t>个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762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打开</a:t>
            </a:r>
            <a:r>
              <a:rPr lang="en-US" altLang="zh-CN" dirty="0"/>
              <a:t>pdf</a:t>
            </a:r>
            <a:r>
              <a:rPr lang="zh-CN" altLang="en-US" dirty="0"/>
              <a:t>文档</a:t>
            </a:r>
            <a:endParaRPr lang="en-US" altLang="zh-CN" dirty="0"/>
          </a:p>
          <a:p>
            <a:r>
              <a:rPr lang="zh-CN" altLang="en-US" dirty="0"/>
              <a:t>梳理了一些比较</a:t>
            </a:r>
            <a:r>
              <a:rPr lang="en-US" altLang="zh-CN" dirty="0"/>
              <a:t>heavy</a:t>
            </a:r>
            <a:r>
              <a:rPr lang="zh-CN" altLang="en-US" dirty="0"/>
              <a:t>的检查点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9780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其中，主要</a:t>
            </a:r>
            <a:r>
              <a:rPr lang="en-US" altLang="zh-CN" dirty="0"/>
              <a:t>challenge</a:t>
            </a:r>
            <a:r>
              <a:rPr lang="zh-CN" altLang="en-US" dirty="0"/>
              <a:t>是数据维度的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C7CE67-3F1A-457A-B768-1EBCB1F0061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286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Our project outputs a user-friendly web interfa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C7CE67-3F1A-457A-B768-1EBCB1F0061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1640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nducted detailed UAT. Some reach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C7CE67-3F1A-457A-B768-1EBCB1F0061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6173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786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545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11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B1E71-2A24-C004-EAA8-911810B05D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99B9FE-6A79-820F-6130-BEF4B6E9AB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744E3-0204-B05C-637B-5ABA32187D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61037F-A88D-4C78-7E97-22C5648DD0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181282-6DFA-1B62-DC74-F00FD4C1B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3536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0205E-B8A8-88EE-67FE-9A1C956A1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15FBD4-0CD5-B270-0855-7E8CCABA0F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3EED64-75BE-3F8E-9F20-23AF443BD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A56431-C15A-C5AA-C3D9-A7093745E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4B631-7325-4D2A-3B5E-E148A40D7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661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DBB2B8-CCBB-F28A-32CE-9069C80BB9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9F712D-A328-01C6-89CC-673E2DCA3A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07F554-C790-6002-991B-1968E76A1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83D7DC-3BB6-9B3F-0E7F-EA8C6C1CA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678238-5794-1B96-E32C-3C0A6A042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4891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71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3200" b="0" i="1" u="none" baseline="0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25/0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1800" dirty="0" err="1">
                <a:solidFill>
                  <a:schemeClr val="tx1"/>
                </a:solidFill>
              </a:rPr>
              <a:t>Schutz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01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2368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25/0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0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3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1800" dirty="0" err="1">
                <a:solidFill>
                  <a:schemeClr val="tx1"/>
                </a:solidFill>
              </a:rPr>
              <a:t>Schutz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2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67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25/0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3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dirty="0" err="1">
                <a:solidFill>
                  <a:schemeClr val="tx1"/>
                </a:solidFill>
              </a:rPr>
              <a:t>Schutz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07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25/0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0820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FF693-507E-865D-1F4B-669916BCE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908537-9EF9-703B-F7F8-BB49BA0897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3D5965-1440-4F06-B25E-98EA6F98F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D77132-C08B-851C-20B9-39E5D22CE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DFDC97-312C-F9EA-AADC-7AECF5EA3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577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5C936-AD71-D3A1-CE39-66992D4CB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151881-80AA-6B0C-A4E6-BAD031B27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D50E17-F816-381F-122D-FF318E138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89F3EE-003D-45F3-CA2F-CA71AD0A7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E1DF26-282C-1872-DCE6-186F59A1E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92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F0054-BE37-6CBF-61F4-2CA8F043D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EF67A-0B07-88CE-BA9B-DD3AC26F7D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51C659-8D18-7ED3-DF4D-A4D893EA7E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E308C-8F8F-E101-D74B-E9A81D495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E0DD4E-8182-05AD-27EF-AD861E20F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B7AB9E-B2B8-C8BA-78E6-BB18BDBF7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446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67AFA-9D4A-6BE9-A39B-BB0DF0380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389F02-9850-6BA1-9F36-057395D5A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96AEC2-F627-0F65-6550-F058730872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7D07F1-F375-1522-3F9F-A1E9842621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BF9CB9-2938-9356-B945-A81A4F776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9DAD7B-F9E1-FF8A-7975-96164DE2C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3CBD5-CE92-F8B5-9EF1-ACE934A0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4AC2B2-2AA0-CF04-3F75-07D8D226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772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63C76-60E7-3EE8-A229-072B089CC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509AA9-9C0F-F3BE-98E6-DB899497FB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A5EA9-2513-C54D-ABB1-9B8BE257C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D4BC4B-6516-160B-A4B3-BCF00AF2D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534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8D4B30-5350-F48F-61B4-40F9F9C69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C10E07-EC00-43F0-9B27-8A7DD5398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687BE2-F684-4C4B-6DF0-0BED191D87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711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CDF8A-4CCB-27D0-A01B-7E98EA579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A21FF6-6F51-0833-4855-AC5BFC3978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A17EA7-8D8E-8D2D-C6BC-C90C2692F1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CF090B-EB66-BC78-B3CB-76A324F071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205D11-67D1-C387-522D-2DCFF932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E05EA9-17BD-88B6-8C7D-D98D3E425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223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5F20D-E39E-107D-F4B4-8859F61F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08F6DC-A7F3-AA66-919E-628DFEF9C6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52EB58-B74B-D4D9-823D-60D703402A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3F9F5-DCDC-E6EA-D18A-106FB618D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12C71D-8778-E332-7B0B-7F4066189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C1C4C5-B7C1-846C-DBB2-0BD3F01CF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245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F2DA8E-D62E-51E7-5228-F90F801B4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C8D77-6F21-E5A8-59B8-D3C646E490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9A95A-8C5E-E911-960C-9D7EA2F764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2EC66-F898-483D-B8D8-4D96D4998410}" type="datetimeFigureOut">
              <a:rPr lang="en-US" smtClean="0"/>
              <a:t>25/0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26049-17DD-1E9B-94AB-5B6A573A4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65565F-C310-2950-D8AE-5C12E1DBF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A80180-1CBD-43D1-BF9A-9D5F3EBA354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2A923E-DEAC-D059-6700-21541B0A2AA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821988" y="65227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98278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11" Type="http://schemas.openxmlformats.org/officeDocument/2006/relationships/image" Target="../media/image15.sv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3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.png"/><Relationship Id="rId11" Type="http://schemas.openxmlformats.org/officeDocument/2006/relationships/image" Target="../media/image27.png"/><Relationship Id="rId5" Type="http://schemas.openxmlformats.org/officeDocument/2006/relationships/image" Target="../media/image5.png"/><Relationship Id="rId10" Type="http://schemas.openxmlformats.org/officeDocument/2006/relationships/image" Target="../media/image26.png"/><Relationship Id="rId4" Type="http://schemas.openxmlformats.org/officeDocument/2006/relationships/image" Target="../media/image4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1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i="1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423E85F-625C-4C12-B075-825562D17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1158" y="1994241"/>
            <a:ext cx="4582891" cy="1690623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AI Solution for E-Invoice Document Manage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619A09-698C-4E3C-881C-54FC53972E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Zhixian Zhang</a:t>
            </a:r>
          </a:p>
          <a:p>
            <a:endParaRPr lang="en-US" dirty="0"/>
          </a:p>
        </p:txBody>
      </p:sp>
      <p:pic>
        <p:nvPicPr>
          <p:cNvPr id="16" name="Pharmaceuticals Headquarters in Berlin"/>
          <p:cNvPicPr>
            <a:picLocks noGrp="1" noChangeAspect="1"/>
          </p:cNvPicPr>
          <p:nvPr>
            <p:ph type="pic" sz="quarter" idx="14"/>
            <p:custDataLst>
              <p:tags r:id="rId3"/>
            </p:custDataLst>
          </p:nvPr>
        </p:nvPicPr>
        <p:blipFill>
          <a:blip r:embed="rId8"/>
          <a:srcRect l="10735" r="10735"/>
          <a:stretch>
            <a:fillRect/>
          </a:stretch>
        </p:blipFill>
        <p:spPr/>
      </p:pic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>
          <a:xfrm>
            <a:off x="1500931" y="4750463"/>
            <a:ext cx="2743200" cy="365125"/>
          </a:xfrm>
        </p:spPr>
        <p:txBody>
          <a:bodyPr/>
          <a:lstStyle/>
          <a:p>
            <a:r>
              <a:rPr lang="en-US" dirty="0"/>
              <a:t>27 June 2024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16:9 Template /// January 2018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49129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400" dirty="0"/>
              <a:t>Project Background</a:t>
            </a:r>
          </a:p>
          <a:p>
            <a:r>
              <a:rPr lang="en-US" sz="2400" dirty="0"/>
              <a:t>Project Overview</a:t>
            </a:r>
          </a:p>
          <a:p>
            <a:r>
              <a:rPr lang="en-US" sz="2400" dirty="0"/>
              <a:t>Project Details</a:t>
            </a:r>
          </a:p>
          <a:p>
            <a:r>
              <a:rPr lang="en-US" sz="2400" dirty="0"/>
              <a:t>Next Step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072314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3" name="Object 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2"/>
            </p:custDataLst>
          </p:nvPr>
        </p:nvSpPr>
        <p:spPr bwMode="gray"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00" r="25342"/>
          <a:stretch/>
        </p:blipFill>
        <p:spPr>
          <a:xfrm>
            <a:off x="7011844" y="447"/>
            <a:ext cx="5239424" cy="6905911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918497" y="1014747"/>
            <a:ext cx="6053613" cy="1366610"/>
            <a:chOff x="893356" y="1673062"/>
            <a:chExt cx="6054401" cy="1366788"/>
          </a:xfrm>
        </p:grpSpPr>
        <p:sp>
          <p:nvSpPr>
            <p:cNvPr id="8" name="Rectangle 7"/>
            <p:cNvSpPr/>
            <p:nvPr/>
          </p:nvSpPr>
          <p:spPr>
            <a:xfrm>
              <a:off x="1408946" y="1673062"/>
              <a:ext cx="5538811" cy="13667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ollaborate with Commercial E-Invoice Document Management (EDM) Department, responsible for auditing conference files. </a:t>
              </a:r>
            </a:p>
          </p:txBody>
        </p:sp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93356" y="2140456"/>
              <a:ext cx="432000" cy="432000"/>
              <a:chOff x="560388" y="1663700"/>
              <a:chExt cx="522288" cy="522288"/>
            </a:xfrm>
          </p:grpSpPr>
          <p:sp>
            <p:nvSpPr>
              <p:cNvPr id="10" name="Freeform 7"/>
              <p:cNvSpPr>
                <a:spLocks noEditPoints="1"/>
              </p:cNvSpPr>
              <p:nvPr/>
            </p:nvSpPr>
            <p:spPr bwMode="auto">
              <a:xfrm>
                <a:off x="560388" y="1663700"/>
                <a:ext cx="522288" cy="522288"/>
              </a:xfrm>
              <a:custGeom>
                <a:avLst/>
                <a:gdLst>
                  <a:gd name="T0" fmla="*/ 313 w 658"/>
                  <a:gd name="T1" fmla="*/ 656 h 656"/>
                  <a:gd name="T2" fmla="*/ 263 w 658"/>
                  <a:gd name="T3" fmla="*/ 649 h 656"/>
                  <a:gd name="T4" fmla="*/ 201 w 658"/>
                  <a:gd name="T5" fmla="*/ 631 h 656"/>
                  <a:gd name="T6" fmla="*/ 121 w 658"/>
                  <a:gd name="T7" fmla="*/ 581 h 656"/>
                  <a:gd name="T8" fmla="*/ 56 w 658"/>
                  <a:gd name="T9" fmla="*/ 511 h 656"/>
                  <a:gd name="T10" fmla="*/ 15 w 658"/>
                  <a:gd name="T11" fmla="*/ 425 h 656"/>
                  <a:gd name="T12" fmla="*/ 4 w 658"/>
                  <a:gd name="T13" fmla="*/ 378 h 656"/>
                  <a:gd name="T14" fmla="*/ 0 w 658"/>
                  <a:gd name="T15" fmla="*/ 327 h 656"/>
                  <a:gd name="T16" fmla="*/ 3 w 658"/>
                  <a:gd name="T17" fmla="*/ 294 h 656"/>
                  <a:gd name="T18" fmla="*/ 11 w 658"/>
                  <a:gd name="T19" fmla="*/ 245 h 656"/>
                  <a:gd name="T20" fmla="*/ 40 w 658"/>
                  <a:gd name="T21" fmla="*/ 171 h 656"/>
                  <a:gd name="T22" fmla="*/ 97 w 658"/>
                  <a:gd name="T23" fmla="*/ 95 h 656"/>
                  <a:gd name="T24" fmla="*/ 173 w 658"/>
                  <a:gd name="T25" fmla="*/ 39 h 656"/>
                  <a:gd name="T26" fmla="*/ 247 w 658"/>
                  <a:gd name="T27" fmla="*/ 9 h 656"/>
                  <a:gd name="T28" fmla="*/ 295 w 658"/>
                  <a:gd name="T29" fmla="*/ 1 h 656"/>
                  <a:gd name="T30" fmla="*/ 329 w 658"/>
                  <a:gd name="T31" fmla="*/ 0 h 656"/>
                  <a:gd name="T32" fmla="*/ 379 w 658"/>
                  <a:gd name="T33" fmla="*/ 4 h 656"/>
                  <a:gd name="T34" fmla="*/ 427 w 658"/>
                  <a:gd name="T35" fmla="*/ 14 h 656"/>
                  <a:gd name="T36" fmla="*/ 513 w 658"/>
                  <a:gd name="T37" fmla="*/ 56 h 656"/>
                  <a:gd name="T38" fmla="*/ 583 w 658"/>
                  <a:gd name="T39" fmla="*/ 119 h 656"/>
                  <a:gd name="T40" fmla="*/ 632 w 658"/>
                  <a:gd name="T41" fmla="*/ 200 h 656"/>
                  <a:gd name="T42" fmla="*/ 651 w 658"/>
                  <a:gd name="T43" fmla="*/ 261 h 656"/>
                  <a:gd name="T44" fmla="*/ 658 w 658"/>
                  <a:gd name="T45" fmla="*/ 311 h 656"/>
                  <a:gd name="T46" fmla="*/ 658 w 658"/>
                  <a:gd name="T47" fmla="*/ 345 h 656"/>
                  <a:gd name="T48" fmla="*/ 651 w 658"/>
                  <a:gd name="T49" fmla="*/ 394 h 656"/>
                  <a:gd name="T50" fmla="*/ 632 w 658"/>
                  <a:gd name="T51" fmla="*/ 456 h 656"/>
                  <a:gd name="T52" fmla="*/ 583 w 658"/>
                  <a:gd name="T53" fmla="*/ 537 h 656"/>
                  <a:gd name="T54" fmla="*/ 513 w 658"/>
                  <a:gd name="T55" fmla="*/ 600 h 656"/>
                  <a:gd name="T56" fmla="*/ 427 w 658"/>
                  <a:gd name="T57" fmla="*/ 641 h 656"/>
                  <a:gd name="T58" fmla="*/ 379 w 658"/>
                  <a:gd name="T59" fmla="*/ 652 h 656"/>
                  <a:gd name="T60" fmla="*/ 329 w 658"/>
                  <a:gd name="T61" fmla="*/ 656 h 656"/>
                  <a:gd name="T62" fmla="*/ 329 w 658"/>
                  <a:gd name="T63" fmla="*/ 37 h 656"/>
                  <a:gd name="T64" fmla="*/ 243 w 658"/>
                  <a:gd name="T65" fmla="*/ 49 h 656"/>
                  <a:gd name="T66" fmla="*/ 167 w 658"/>
                  <a:gd name="T67" fmla="*/ 87 h 656"/>
                  <a:gd name="T68" fmla="*/ 105 w 658"/>
                  <a:gd name="T69" fmla="*/ 143 h 656"/>
                  <a:gd name="T70" fmla="*/ 62 w 658"/>
                  <a:gd name="T71" fmla="*/ 214 h 656"/>
                  <a:gd name="T72" fmla="*/ 40 w 658"/>
                  <a:gd name="T73" fmla="*/ 298 h 656"/>
                  <a:gd name="T74" fmla="*/ 40 w 658"/>
                  <a:gd name="T75" fmla="*/ 358 h 656"/>
                  <a:gd name="T76" fmla="*/ 62 w 658"/>
                  <a:gd name="T77" fmla="*/ 441 h 656"/>
                  <a:gd name="T78" fmla="*/ 105 w 658"/>
                  <a:gd name="T79" fmla="*/ 512 h 656"/>
                  <a:gd name="T80" fmla="*/ 167 w 658"/>
                  <a:gd name="T81" fmla="*/ 569 h 656"/>
                  <a:gd name="T82" fmla="*/ 243 w 658"/>
                  <a:gd name="T83" fmla="*/ 605 h 656"/>
                  <a:gd name="T84" fmla="*/ 329 w 658"/>
                  <a:gd name="T85" fmla="*/ 618 h 656"/>
                  <a:gd name="T86" fmla="*/ 388 w 658"/>
                  <a:gd name="T87" fmla="*/ 613 h 656"/>
                  <a:gd name="T88" fmla="*/ 467 w 658"/>
                  <a:gd name="T89" fmla="*/ 584 h 656"/>
                  <a:gd name="T90" fmla="*/ 534 w 658"/>
                  <a:gd name="T91" fmla="*/ 534 h 656"/>
                  <a:gd name="T92" fmla="*/ 585 w 658"/>
                  <a:gd name="T93" fmla="*/ 467 h 656"/>
                  <a:gd name="T94" fmla="*/ 615 w 658"/>
                  <a:gd name="T95" fmla="*/ 386 h 656"/>
                  <a:gd name="T96" fmla="*/ 620 w 658"/>
                  <a:gd name="T97" fmla="*/ 327 h 656"/>
                  <a:gd name="T98" fmla="*/ 607 w 658"/>
                  <a:gd name="T99" fmla="*/ 241 h 656"/>
                  <a:gd name="T100" fmla="*/ 571 w 658"/>
                  <a:gd name="T101" fmla="*/ 165 h 656"/>
                  <a:gd name="T102" fmla="*/ 514 w 658"/>
                  <a:gd name="T103" fmla="*/ 103 h 656"/>
                  <a:gd name="T104" fmla="*/ 443 w 658"/>
                  <a:gd name="T105" fmla="*/ 60 h 656"/>
                  <a:gd name="T106" fmla="*/ 359 w 658"/>
                  <a:gd name="T107" fmla="*/ 39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8" h="656">
                    <a:moveTo>
                      <a:pt x="329" y="656"/>
                    </a:moveTo>
                    <a:lnTo>
                      <a:pt x="329" y="656"/>
                    </a:lnTo>
                    <a:lnTo>
                      <a:pt x="313" y="656"/>
                    </a:lnTo>
                    <a:lnTo>
                      <a:pt x="295" y="655"/>
                    </a:lnTo>
                    <a:lnTo>
                      <a:pt x="279" y="652"/>
                    </a:lnTo>
                    <a:lnTo>
                      <a:pt x="263" y="649"/>
                    </a:lnTo>
                    <a:lnTo>
                      <a:pt x="247" y="647"/>
                    </a:lnTo>
                    <a:lnTo>
                      <a:pt x="232" y="641"/>
                    </a:lnTo>
                    <a:lnTo>
                      <a:pt x="201" y="631"/>
                    </a:lnTo>
                    <a:lnTo>
                      <a:pt x="173" y="617"/>
                    </a:lnTo>
                    <a:lnTo>
                      <a:pt x="145" y="600"/>
                    </a:lnTo>
                    <a:lnTo>
                      <a:pt x="121" y="581"/>
                    </a:lnTo>
                    <a:lnTo>
                      <a:pt x="97" y="559"/>
                    </a:lnTo>
                    <a:lnTo>
                      <a:pt x="75" y="537"/>
                    </a:lnTo>
                    <a:lnTo>
                      <a:pt x="56" y="511"/>
                    </a:lnTo>
                    <a:lnTo>
                      <a:pt x="40" y="484"/>
                    </a:lnTo>
                    <a:lnTo>
                      <a:pt x="27" y="456"/>
                    </a:lnTo>
                    <a:lnTo>
                      <a:pt x="15" y="425"/>
                    </a:lnTo>
                    <a:lnTo>
                      <a:pt x="11" y="410"/>
                    </a:lnTo>
                    <a:lnTo>
                      <a:pt x="7" y="394"/>
                    </a:lnTo>
                    <a:lnTo>
                      <a:pt x="4" y="378"/>
                    </a:lnTo>
                    <a:lnTo>
                      <a:pt x="3" y="361"/>
                    </a:lnTo>
                    <a:lnTo>
                      <a:pt x="1" y="345"/>
                    </a:lnTo>
                    <a:lnTo>
                      <a:pt x="0" y="327"/>
                    </a:lnTo>
                    <a:lnTo>
                      <a:pt x="0" y="327"/>
                    </a:lnTo>
                    <a:lnTo>
                      <a:pt x="1" y="311"/>
                    </a:lnTo>
                    <a:lnTo>
                      <a:pt x="3" y="294"/>
                    </a:lnTo>
                    <a:lnTo>
                      <a:pt x="4" y="277"/>
                    </a:lnTo>
                    <a:lnTo>
                      <a:pt x="7" y="261"/>
                    </a:lnTo>
                    <a:lnTo>
                      <a:pt x="11" y="245"/>
                    </a:lnTo>
                    <a:lnTo>
                      <a:pt x="15" y="231"/>
                    </a:lnTo>
                    <a:lnTo>
                      <a:pt x="27" y="200"/>
                    </a:lnTo>
                    <a:lnTo>
                      <a:pt x="40" y="171"/>
                    </a:lnTo>
                    <a:lnTo>
                      <a:pt x="56" y="145"/>
                    </a:lnTo>
                    <a:lnTo>
                      <a:pt x="75" y="119"/>
                    </a:lnTo>
                    <a:lnTo>
                      <a:pt x="97" y="95"/>
                    </a:lnTo>
                    <a:lnTo>
                      <a:pt x="121" y="75"/>
                    </a:lnTo>
                    <a:lnTo>
                      <a:pt x="145" y="56"/>
                    </a:lnTo>
                    <a:lnTo>
                      <a:pt x="173" y="39"/>
                    </a:lnTo>
                    <a:lnTo>
                      <a:pt x="201" y="25"/>
                    </a:lnTo>
                    <a:lnTo>
                      <a:pt x="232" y="14"/>
                    </a:lnTo>
                    <a:lnTo>
                      <a:pt x="247" y="9"/>
                    </a:lnTo>
                    <a:lnTo>
                      <a:pt x="263" y="6"/>
                    </a:lnTo>
                    <a:lnTo>
                      <a:pt x="279" y="4"/>
                    </a:lnTo>
                    <a:lnTo>
                      <a:pt x="295" y="1"/>
                    </a:lnTo>
                    <a:lnTo>
                      <a:pt x="313" y="0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6" y="0"/>
                    </a:lnTo>
                    <a:lnTo>
                      <a:pt x="363" y="1"/>
                    </a:lnTo>
                    <a:lnTo>
                      <a:pt x="379" y="4"/>
                    </a:lnTo>
                    <a:lnTo>
                      <a:pt x="395" y="6"/>
                    </a:lnTo>
                    <a:lnTo>
                      <a:pt x="411" y="9"/>
                    </a:lnTo>
                    <a:lnTo>
                      <a:pt x="427" y="14"/>
                    </a:lnTo>
                    <a:lnTo>
                      <a:pt x="457" y="25"/>
                    </a:lnTo>
                    <a:lnTo>
                      <a:pt x="486" y="39"/>
                    </a:lnTo>
                    <a:lnTo>
                      <a:pt x="513" y="56"/>
                    </a:lnTo>
                    <a:lnTo>
                      <a:pt x="538" y="75"/>
                    </a:lnTo>
                    <a:lnTo>
                      <a:pt x="561" y="95"/>
                    </a:lnTo>
                    <a:lnTo>
                      <a:pt x="583" y="119"/>
                    </a:lnTo>
                    <a:lnTo>
                      <a:pt x="602" y="145"/>
                    </a:lnTo>
                    <a:lnTo>
                      <a:pt x="618" y="171"/>
                    </a:lnTo>
                    <a:lnTo>
                      <a:pt x="632" y="200"/>
                    </a:lnTo>
                    <a:lnTo>
                      <a:pt x="643" y="231"/>
                    </a:lnTo>
                    <a:lnTo>
                      <a:pt x="647" y="245"/>
                    </a:lnTo>
                    <a:lnTo>
                      <a:pt x="651" y="261"/>
                    </a:lnTo>
                    <a:lnTo>
                      <a:pt x="654" y="277"/>
                    </a:lnTo>
                    <a:lnTo>
                      <a:pt x="657" y="294"/>
                    </a:lnTo>
                    <a:lnTo>
                      <a:pt x="658" y="311"/>
                    </a:lnTo>
                    <a:lnTo>
                      <a:pt x="658" y="327"/>
                    </a:lnTo>
                    <a:lnTo>
                      <a:pt x="658" y="327"/>
                    </a:lnTo>
                    <a:lnTo>
                      <a:pt x="658" y="345"/>
                    </a:lnTo>
                    <a:lnTo>
                      <a:pt x="657" y="361"/>
                    </a:lnTo>
                    <a:lnTo>
                      <a:pt x="654" y="378"/>
                    </a:lnTo>
                    <a:lnTo>
                      <a:pt x="651" y="394"/>
                    </a:lnTo>
                    <a:lnTo>
                      <a:pt x="647" y="410"/>
                    </a:lnTo>
                    <a:lnTo>
                      <a:pt x="643" y="425"/>
                    </a:lnTo>
                    <a:lnTo>
                      <a:pt x="632" y="456"/>
                    </a:lnTo>
                    <a:lnTo>
                      <a:pt x="618" y="484"/>
                    </a:lnTo>
                    <a:lnTo>
                      <a:pt x="602" y="511"/>
                    </a:lnTo>
                    <a:lnTo>
                      <a:pt x="583" y="537"/>
                    </a:lnTo>
                    <a:lnTo>
                      <a:pt x="561" y="559"/>
                    </a:lnTo>
                    <a:lnTo>
                      <a:pt x="538" y="581"/>
                    </a:lnTo>
                    <a:lnTo>
                      <a:pt x="513" y="600"/>
                    </a:lnTo>
                    <a:lnTo>
                      <a:pt x="486" y="617"/>
                    </a:lnTo>
                    <a:lnTo>
                      <a:pt x="457" y="631"/>
                    </a:lnTo>
                    <a:lnTo>
                      <a:pt x="427" y="641"/>
                    </a:lnTo>
                    <a:lnTo>
                      <a:pt x="411" y="647"/>
                    </a:lnTo>
                    <a:lnTo>
                      <a:pt x="395" y="649"/>
                    </a:lnTo>
                    <a:lnTo>
                      <a:pt x="379" y="652"/>
                    </a:lnTo>
                    <a:lnTo>
                      <a:pt x="363" y="655"/>
                    </a:lnTo>
                    <a:lnTo>
                      <a:pt x="346" y="656"/>
                    </a:lnTo>
                    <a:lnTo>
                      <a:pt x="329" y="656"/>
                    </a:lnTo>
                    <a:lnTo>
                      <a:pt x="329" y="656"/>
                    </a:lnTo>
                    <a:close/>
                    <a:moveTo>
                      <a:pt x="329" y="37"/>
                    </a:moveTo>
                    <a:lnTo>
                      <a:pt x="329" y="37"/>
                    </a:lnTo>
                    <a:lnTo>
                      <a:pt x="299" y="39"/>
                    </a:lnTo>
                    <a:lnTo>
                      <a:pt x="271" y="43"/>
                    </a:lnTo>
                    <a:lnTo>
                      <a:pt x="243" y="49"/>
                    </a:lnTo>
                    <a:lnTo>
                      <a:pt x="216" y="60"/>
                    </a:lnTo>
                    <a:lnTo>
                      <a:pt x="191" y="72"/>
                    </a:lnTo>
                    <a:lnTo>
                      <a:pt x="167" y="87"/>
                    </a:lnTo>
                    <a:lnTo>
                      <a:pt x="144" y="103"/>
                    </a:lnTo>
                    <a:lnTo>
                      <a:pt x="124" y="122"/>
                    </a:lnTo>
                    <a:lnTo>
                      <a:pt x="105" y="143"/>
                    </a:lnTo>
                    <a:lnTo>
                      <a:pt x="89" y="165"/>
                    </a:lnTo>
                    <a:lnTo>
                      <a:pt x="74" y="189"/>
                    </a:lnTo>
                    <a:lnTo>
                      <a:pt x="62" y="214"/>
                    </a:lnTo>
                    <a:lnTo>
                      <a:pt x="51" y="241"/>
                    </a:lnTo>
                    <a:lnTo>
                      <a:pt x="44" y="269"/>
                    </a:lnTo>
                    <a:lnTo>
                      <a:pt x="40" y="298"/>
                    </a:lnTo>
                    <a:lnTo>
                      <a:pt x="38" y="327"/>
                    </a:lnTo>
                    <a:lnTo>
                      <a:pt x="38" y="327"/>
                    </a:lnTo>
                    <a:lnTo>
                      <a:pt x="40" y="358"/>
                    </a:lnTo>
                    <a:lnTo>
                      <a:pt x="44" y="386"/>
                    </a:lnTo>
                    <a:lnTo>
                      <a:pt x="51" y="414"/>
                    </a:lnTo>
                    <a:lnTo>
                      <a:pt x="62" y="441"/>
                    </a:lnTo>
                    <a:lnTo>
                      <a:pt x="74" y="467"/>
                    </a:lnTo>
                    <a:lnTo>
                      <a:pt x="89" y="491"/>
                    </a:lnTo>
                    <a:lnTo>
                      <a:pt x="105" y="512"/>
                    </a:lnTo>
                    <a:lnTo>
                      <a:pt x="124" y="534"/>
                    </a:lnTo>
                    <a:lnTo>
                      <a:pt x="144" y="553"/>
                    </a:lnTo>
                    <a:lnTo>
                      <a:pt x="167" y="569"/>
                    </a:lnTo>
                    <a:lnTo>
                      <a:pt x="191" y="584"/>
                    </a:lnTo>
                    <a:lnTo>
                      <a:pt x="216" y="596"/>
                    </a:lnTo>
                    <a:lnTo>
                      <a:pt x="243" y="605"/>
                    </a:lnTo>
                    <a:lnTo>
                      <a:pt x="271" y="613"/>
                    </a:lnTo>
                    <a:lnTo>
                      <a:pt x="299" y="617"/>
                    </a:lnTo>
                    <a:lnTo>
                      <a:pt x="329" y="618"/>
                    </a:lnTo>
                    <a:lnTo>
                      <a:pt x="329" y="618"/>
                    </a:lnTo>
                    <a:lnTo>
                      <a:pt x="359" y="617"/>
                    </a:lnTo>
                    <a:lnTo>
                      <a:pt x="388" y="613"/>
                    </a:lnTo>
                    <a:lnTo>
                      <a:pt x="416" y="605"/>
                    </a:lnTo>
                    <a:lnTo>
                      <a:pt x="443" y="596"/>
                    </a:lnTo>
                    <a:lnTo>
                      <a:pt x="467" y="584"/>
                    </a:lnTo>
                    <a:lnTo>
                      <a:pt x="491" y="569"/>
                    </a:lnTo>
                    <a:lnTo>
                      <a:pt x="514" y="553"/>
                    </a:lnTo>
                    <a:lnTo>
                      <a:pt x="534" y="534"/>
                    </a:lnTo>
                    <a:lnTo>
                      <a:pt x="553" y="512"/>
                    </a:lnTo>
                    <a:lnTo>
                      <a:pt x="571" y="491"/>
                    </a:lnTo>
                    <a:lnTo>
                      <a:pt x="585" y="467"/>
                    </a:lnTo>
                    <a:lnTo>
                      <a:pt x="597" y="441"/>
                    </a:lnTo>
                    <a:lnTo>
                      <a:pt x="607" y="414"/>
                    </a:lnTo>
                    <a:lnTo>
                      <a:pt x="615" y="386"/>
                    </a:lnTo>
                    <a:lnTo>
                      <a:pt x="619" y="358"/>
                    </a:lnTo>
                    <a:lnTo>
                      <a:pt x="620" y="327"/>
                    </a:lnTo>
                    <a:lnTo>
                      <a:pt x="620" y="327"/>
                    </a:lnTo>
                    <a:lnTo>
                      <a:pt x="619" y="298"/>
                    </a:lnTo>
                    <a:lnTo>
                      <a:pt x="615" y="269"/>
                    </a:lnTo>
                    <a:lnTo>
                      <a:pt x="607" y="241"/>
                    </a:lnTo>
                    <a:lnTo>
                      <a:pt x="597" y="214"/>
                    </a:lnTo>
                    <a:lnTo>
                      <a:pt x="585" y="189"/>
                    </a:lnTo>
                    <a:lnTo>
                      <a:pt x="571" y="165"/>
                    </a:lnTo>
                    <a:lnTo>
                      <a:pt x="553" y="143"/>
                    </a:lnTo>
                    <a:lnTo>
                      <a:pt x="534" y="122"/>
                    </a:lnTo>
                    <a:lnTo>
                      <a:pt x="514" y="103"/>
                    </a:lnTo>
                    <a:lnTo>
                      <a:pt x="491" y="87"/>
                    </a:lnTo>
                    <a:lnTo>
                      <a:pt x="467" y="72"/>
                    </a:lnTo>
                    <a:lnTo>
                      <a:pt x="443" y="60"/>
                    </a:lnTo>
                    <a:lnTo>
                      <a:pt x="416" y="49"/>
                    </a:lnTo>
                    <a:lnTo>
                      <a:pt x="388" y="43"/>
                    </a:lnTo>
                    <a:lnTo>
                      <a:pt x="359" y="39"/>
                    </a:lnTo>
                    <a:lnTo>
                      <a:pt x="329" y="37"/>
                    </a:lnTo>
                    <a:lnTo>
                      <a:pt x="329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79"/>
              <p:cNvSpPr>
                <a:spLocks noEditPoints="1"/>
              </p:cNvSpPr>
              <p:nvPr/>
            </p:nvSpPr>
            <p:spPr bwMode="auto">
              <a:xfrm>
                <a:off x="727076" y="1827213"/>
                <a:ext cx="195263" cy="195263"/>
              </a:xfrm>
              <a:custGeom>
                <a:avLst/>
                <a:gdLst>
                  <a:gd name="T0" fmla="*/ 6 w 246"/>
                  <a:gd name="T1" fmla="*/ 246 h 246"/>
                  <a:gd name="T2" fmla="*/ 184 w 246"/>
                  <a:gd name="T3" fmla="*/ 187 h 246"/>
                  <a:gd name="T4" fmla="*/ 186 w 246"/>
                  <a:gd name="T5" fmla="*/ 185 h 246"/>
                  <a:gd name="T6" fmla="*/ 246 w 246"/>
                  <a:gd name="T7" fmla="*/ 8 h 246"/>
                  <a:gd name="T8" fmla="*/ 246 w 246"/>
                  <a:gd name="T9" fmla="*/ 4 h 246"/>
                  <a:gd name="T10" fmla="*/ 245 w 246"/>
                  <a:gd name="T11" fmla="*/ 1 h 246"/>
                  <a:gd name="T12" fmla="*/ 239 w 246"/>
                  <a:gd name="T13" fmla="*/ 0 h 246"/>
                  <a:gd name="T14" fmla="*/ 64 w 246"/>
                  <a:gd name="T15" fmla="*/ 59 h 246"/>
                  <a:gd name="T16" fmla="*/ 60 w 246"/>
                  <a:gd name="T17" fmla="*/ 62 h 246"/>
                  <a:gd name="T18" fmla="*/ 0 w 246"/>
                  <a:gd name="T19" fmla="*/ 238 h 246"/>
                  <a:gd name="T20" fmla="*/ 2 w 246"/>
                  <a:gd name="T21" fmla="*/ 244 h 246"/>
                  <a:gd name="T22" fmla="*/ 5 w 246"/>
                  <a:gd name="T23" fmla="*/ 246 h 246"/>
                  <a:gd name="T24" fmla="*/ 6 w 246"/>
                  <a:gd name="T25" fmla="*/ 246 h 246"/>
                  <a:gd name="T26" fmla="*/ 124 w 246"/>
                  <a:gd name="T27" fmla="*/ 94 h 246"/>
                  <a:gd name="T28" fmla="*/ 135 w 246"/>
                  <a:gd name="T29" fmla="*/ 95 h 246"/>
                  <a:gd name="T30" fmla="*/ 144 w 246"/>
                  <a:gd name="T31" fmla="*/ 102 h 246"/>
                  <a:gd name="T32" fmla="*/ 151 w 246"/>
                  <a:gd name="T33" fmla="*/ 111 h 246"/>
                  <a:gd name="T34" fmla="*/ 154 w 246"/>
                  <a:gd name="T35" fmla="*/ 122 h 246"/>
                  <a:gd name="T36" fmla="*/ 152 w 246"/>
                  <a:gd name="T37" fmla="*/ 129 h 246"/>
                  <a:gd name="T38" fmla="*/ 148 w 246"/>
                  <a:gd name="T39" fmla="*/ 140 h 246"/>
                  <a:gd name="T40" fmla="*/ 140 w 246"/>
                  <a:gd name="T41" fmla="*/ 148 h 246"/>
                  <a:gd name="T42" fmla="*/ 129 w 246"/>
                  <a:gd name="T43" fmla="*/ 152 h 246"/>
                  <a:gd name="T44" fmla="*/ 124 w 246"/>
                  <a:gd name="T45" fmla="*/ 152 h 246"/>
                  <a:gd name="T46" fmla="*/ 112 w 246"/>
                  <a:gd name="T47" fmla="*/ 150 h 246"/>
                  <a:gd name="T48" fmla="*/ 103 w 246"/>
                  <a:gd name="T49" fmla="*/ 144 h 246"/>
                  <a:gd name="T50" fmla="*/ 97 w 246"/>
                  <a:gd name="T51" fmla="*/ 134 h 246"/>
                  <a:gd name="T52" fmla="*/ 94 w 246"/>
                  <a:gd name="T53" fmla="*/ 122 h 246"/>
                  <a:gd name="T54" fmla="*/ 94 w 246"/>
                  <a:gd name="T55" fmla="*/ 117 h 246"/>
                  <a:gd name="T56" fmla="*/ 100 w 246"/>
                  <a:gd name="T57" fmla="*/ 106 h 246"/>
                  <a:gd name="T58" fmla="*/ 107 w 246"/>
                  <a:gd name="T59" fmla="*/ 98 h 246"/>
                  <a:gd name="T60" fmla="*/ 117 w 246"/>
                  <a:gd name="T61" fmla="*/ 94 h 246"/>
                  <a:gd name="T62" fmla="*/ 124 w 246"/>
                  <a:gd name="T63" fmla="*/ 94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6" h="246">
                    <a:moveTo>
                      <a:pt x="6" y="246"/>
                    </a:moveTo>
                    <a:lnTo>
                      <a:pt x="6" y="246"/>
                    </a:lnTo>
                    <a:lnTo>
                      <a:pt x="9" y="246"/>
                    </a:lnTo>
                    <a:lnTo>
                      <a:pt x="184" y="187"/>
                    </a:lnTo>
                    <a:lnTo>
                      <a:pt x="184" y="187"/>
                    </a:lnTo>
                    <a:lnTo>
                      <a:pt x="186" y="185"/>
                    </a:lnTo>
                    <a:lnTo>
                      <a:pt x="188" y="184"/>
                    </a:lnTo>
                    <a:lnTo>
                      <a:pt x="246" y="8"/>
                    </a:lnTo>
                    <a:lnTo>
                      <a:pt x="246" y="8"/>
                    </a:lnTo>
                    <a:lnTo>
                      <a:pt x="246" y="4"/>
                    </a:lnTo>
                    <a:lnTo>
                      <a:pt x="245" y="1"/>
                    </a:lnTo>
                    <a:lnTo>
                      <a:pt x="245" y="1"/>
                    </a:lnTo>
                    <a:lnTo>
                      <a:pt x="242" y="0"/>
                    </a:lnTo>
                    <a:lnTo>
                      <a:pt x="239" y="0"/>
                    </a:lnTo>
                    <a:lnTo>
                      <a:pt x="64" y="59"/>
                    </a:lnTo>
                    <a:lnTo>
                      <a:pt x="64" y="59"/>
                    </a:lnTo>
                    <a:lnTo>
                      <a:pt x="61" y="60"/>
                    </a:lnTo>
                    <a:lnTo>
                      <a:pt x="60" y="62"/>
                    </a:lnTo>
                    <a:lnTo>
                      <a:pt x="0" y="238"/>
                    </a:lnTo>
                    <a:lnTo>
                      <a:pt x="0" y="238"/>
                    </a:lnTo>
                    <a:lnTo>
                      <a:pt x="0" y="242"/>
                    </a:lnTo>
                    <a:lnTo>
                      <a:pt x="2" y="244"/>
                    </a:lnTo>
                    <a:lnTo>
                      <a:pt x="2" y="244"/>
                    </a:lnTo>
                    <a:lnTo>
                      <a:pt x="5" y="246"/>
                    </a:lnTo>
                    <a:lnTo>
                      <a:pt x="6" y="246"/>
                    </a:lnTo>
                    <a:lnTo>
                      <a:pt x="6" y="246"/>
                    </a:lnTo>
                    <a:close/>
                    <a:moveTo>
                      <a:pt x="124" y="94"/>
                    </a:moveTo>
                    <a:lnTo>
                      <a:pt x="124" y="94"/>
                    </a:lnTo>
                    <a:lnTo>
                      <a:pt x="129" y="94"/>
                    </a:lnTo>
                    <a:lnTo>
                      <a:pt x="135" y="95"/>
                    </a:lnTo>
                    <a:lnTo>
                      <a:pt x="140" y="98"/>
                    </a:lnTo>
                    <a:lnTo>
                      <a:pt x="144" y="102"/>
                    </a:lnTo>
                    <a:lnTo>
                      <a:pt x="148" y="106"/>
                    </a:lnTo>
                    <a:lnTo>
                      <a:pt x="151" y="111"/>
                    </a:lnTo>
                    <a:lnTo>
                      <a:pt x="152" y="117"/>
                    </a:lnTo>
                    <a:lnTo>
                      <a:pt x="154" y="122"/>
                    </a:lnTo>
                    <a:lnTo>
                      <a:pt x="154" y="122"/>
                    </a:lnTo>
                    <a:lnTo>
                      <a:pt x="152" y="129"/>
                    </a:lnTo>
                    <a:lnTo>
                      <a:pt x="151" y="134"/>
                    </a:lnTo>
                    <a:lnTo>
                      <a:pt x="148" y="140"/>
                    </a:lnTo>
                    <a:lnTo>
                      <a:pt x="144" y="144"/>
                    </a:lnTo>
                    <a:lnTo>
                      <a:pt x="140" y="148"/>
                    </a:lnTo>
                    <a:lnTo>
                      <a:pt x="135" y="150"/>
                    </a:lnTo>
                    <a:lnTo>
                      <a:pt x="129" y="152"/>
                    </a:lnTo>
                    <a:lnTo>
                      <a:pt x="124" y="152"/>
                    </a:lnTo>
                    <a:lnTo>
                      <a:pt x="124" y="152"/>
                    </a:lnTo>
                    <a:lnTo>
                      <a:pt x="117" y="152"/>
                    </a:lnTo>
                    <a:lnTo>
                      <a:pt x="112" y="150"/>
                    </a:lnTo>
                    <a:lnTo>
                      <a:pt x="107" y="148"/>
                    </a:lnTo>
                    <a:lnTo>
                      <a:pt x="103" y="144"/>
                    </a:lnTo>
                    <a:lnTo>
                      <a:pt x="100" y="140"/>
                    </a:lnTo>
                    <a:lnTo>
                      <a:pt x="97" y="134"/>
                    </a:lnTo>
                    <a:lnTo>
                      <a:pt x="94" y="129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4" y="117"/>
                    </a:lnTo>
                    <a:lnTo>
                      <a:pt x="97" y="111"/>
                    </a:lnTo>
                    <a:lnTo>
                      <a:pt x="100" y="106"/>
                    </a:lnTo>
                    <a:lnTo>
                      <a:pt x="103" y="102"/>
                    </a:lnTo>
                    <a:lnTo>
                      <a:pt x="107" y="98"/>
                    </a:lnTo>
                    <a:lnTo>
                      <a:pt x="112" y="95"/>
                    </a:lnTo>
                    <a:lnTo>
                      <a:pt x="117" y="94"/>
                    </a:lnTo>
                    <a:lnTo>
                      <a:pt x="124" y="94"/>
                    </a:lnTo>
                    <a:lnTo>
                      <a:pt x="124" y="9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80"/>
              <p:cNvSpPr>
                <a:spLocks/>
              </p:cNvSpPr>
              <p:nvPr/>
            </p:nvSpPr>
            <p:spPr bwMode="auto">
              <a:xfrm>
                <a:off x="817563" y="1763713"/>
                <a:ext cx="14288" cy="47625"/>
              </a:xfrm>
              <a:custGeom>
                <a:avLst/>
                <a:gdLst>
                  <a:gd name="T0" fmla="*/ 9 w 17"/>
                  <a:gd name="T1" fmla="*/ 0 h 59"/>
                  <a:gd name="T2" fmla="*/ 9 w 17"/>
                  <a:gd name="T3" fmla="*/ 0 h 59"/>
                  <a:gd name="T4" fmla="*/ 5 w 17"/>
                  <a:gd name="T5" fmla="*/ 0 h 59"/>
                  <a:gd name="T6" fmla="*/ 2 w 17"/>
                  <a:gd name="T7" fmla="*/ 2 h 59"/>
                  <a:gd name="T8" fmla="*/ 0 w 17"/>
                  <a:gd name="T9" fmla="*/ 5 h 59"/>
                  <a:gd name="T10" fmla="*/ 0 w 17"/>
                  <a:gd name="T11" fmla="*/ 9 h 59"/>
                  <a:gd name="T12" fmla="*/ 0 w 17"/>
                  <a:gd name="T13" fmla="*/ 49 h 59"/>
                  <a:gd name="T14" fmla="*/ 0 w 17"/>
                  <a:gd name="T15" fmla="*/ 49 h 59"/>
                  <a:gd name="T16" fmla="*/ 0 w 17"/>
                  <a:gd name="T17" fmla="*/ 53 h 59"/>
                  <a:gd name="T18" fmla="*/ 2 w 17"/>
                  <a:gd name="T19" fmla="*/ 56 h 59"/>
                  <a:gd name="T20" fmla="*/ 5 w 17"/>
                  <a:gd name="T21" fmla="*/ 58 h 59"/>
                  <a:gd name="T22" fmla="*/ 9 w 17"/>
                  <a:gd name="T23" fmla="*/ 59 h 59"/>
                  <a:gd name="T24" fmla="*/ 9 w 17"/>
                  <a:gd name="T25" fmla="*/ 59 h 59"/>
                  <a:gd name="T26" fmla="*/ 12 w 17"/>
                  <a:gd name="T27" fmla="*/ 58 h 59"/>
                  <a:gd name="T28" fmla="*/ 14 w 17"/>
                  <a:gd name="T29" fmla="*/ 56 h 59"/>
                  <a:gd name="T30" fmla="*/ 17 w 17"/>
                  <a:gd name="T31" fmla="*/ 53 h 59"/>
                  <a:gd name="T32" fmla="*/ 17 w 17"/>
                  <a:gd name="T33" fmla="*/ 49 h 59"/>
                  <a:gd name="T34" fmla="*/ 17 w 17"/>
                  <a:gd name="T35" fmla="*/ 9 h 59"/>
                  <a:gd name="T36" fmla="*/ 17 w 17"/>
                  <a:gd name="T37" fmla="*/ 9 h 59"/>
                  <a:gd name="T38" fmla="*/ 17 w 17"/>
                  <a:gd name="T39" fmla="*/ 5 h 59"/>
                  <a:gd name="T40" fmla="*/ 14 w 17"/>
                  <a:gd name="T41" fmla="*/ 2 h 59"/>
                  <a:gd name="T42" fmla="*/ 12 w 17"/>
                  <a:gd name="T43" fmla="*/ 0 h 59"/>
                  <a:gd name="T44" fmla="*/ 9 w 17"/>
                  <a:gd name="T45" fmla="*/ 0 h 59"/>
                  <a:gd name="T46" fmla="*/ 9 w 17"/>
                  <a:gd name="T47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59">
                    <a:moveTo>
                      <a:pt x="9" y="0"/>
                    </a:moveTo>
                    <a:lnTo>
                      <a:pt x="9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53"/>
                    </a:lnTo>
                    <a:lnTo>
                      <a:pt x="2" y="56"/>
                    </a:lnTo>
                    <a:lnTo>
                      <a:pt x="5" y="58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12" y="58"/>
                    </a:lnTo>
                    <a:lnTo>
                      <a:pt x="14" y="56"/>
                    </a:lnTo>
                    <a:lnTo>
                      <a:pt x="17" y="53"/>
                    </a:lnTo>
                    <a:lnTo>
                      <a:pt x="17" y="49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81"/>
              <p:cNvSpPr>
                <a:spLocks/>
              </p:cNvSpPr>
              <p:nvPr/>
            </p:nvSpPr>
            <p:spPr bwMode="auto">
              <a:xfrm>
                <a:off x="938213" y="1917700"/>
                <a:ext cx="46038" cy="14288"/>
              </a:xfrm>
              <a:custGeom>
                <a:avLst/>
                <a:gdLst>
                  <a:gd name="T0" fmla="*/ 51 w 59"/>
                  <a:gd name="T1" fmla="*/ 0 h 18"/>
                  <a:gd name="T2" fmla="*/ 10 w 59"/>
                  <a:gd name="T3" fmla="*/ 0 h 18"/>
                  <a:gd name="T4" fmla="*/ 10 w 59"/>
                  <a:gd name="T5" fmla="*/ 0 h 18"/>
                  <a:gd name="T6" fmla="*/ 7 w 59"/>
                  <a:gd name="T7" fmla="*/ 0 h 18"/>
                  <a:gd name="T8" fmla="*/ 3 w 59"/>
                  <a:gd name="T9" fmla="*/ 3 h 18"/>
                  <a:gd name="T10" fmla="*/ 2 w 59"/>
                  <a:gd name="T11" fmla="*/ 5 h 18"/>
                  <a:gd name="T12" fmla="*/ 0 w 59"/>
                  <a:gd name="T13" fmla="*/ 8 h 18"/>
                  <a:gd name="T14" fmla="*/ 0 w 59"/>
                  <a:gd name="T15" fmla="*/ 8 h 18"/>
                  <a:gd name="T16" fmla="*/ 2 w 59"/>
                  <a:gd name="T17" fmla="*/ 12 h 18"/>
                  <a:gd name="T18" fmla="*/ 3 w 59"/>
                  <a:gd name="T19" fmla="*/ 15 h 18"/>
                  <a:gd name="T20" fmla="*/ 7 w 59"/>
                  <a:gd name="T21" fmla="*/ 18 h 18"/>
                  <a:gd name="T22" fmla="*/ 10 w 59"/>
                  <a:gd name="T23" fmla="*/ 18 h 18"/>
                  <a:gd name="T24" fmla="*/ 51 w 59"/>
                  <a:gd name="T25" fmla="*/ 18 h 18"/>
                  <a:gd name="T26" fmla="*/ 51 w 59"/>
                  <a:gd name="T27" fmla="*/ 18 h 18"/>
                  <a:gd name="T28" fmla="*/ 54 w 59"/>
                  <a:gd name="T29" fmla="*/ 18 h 18"/>
                  <a:gd name="T30" fmla="*/ 57 w 59"/>
                  <a:gd name="T31" fmla="*/ 15 h 18"/>
                  <a:gd name="T32" fmla="*/ 59 w 59"/>
                  <a:gd name="T33" fmla="*/ 12 h 18"/>
                  <a:gd name="T34" fmla="*/ 59 w 59"/>
                  <a:gd name="T35" fmla="*/ 8 h 18"/>
                  <a:gd name="T36" fmla="*/ 59 w 59"/>
                  <a:gd name="T37" fmla="*/ 8 h 18"/>
                  <a:gd name="T38" fmla="*/ 59 w 59"/>
                  <a:gd name="T39" fmla="*/ 5 h 18"/>
                  <a:gd name="T40" fmla="*/ 57 w 59"/>
                  <a:gd name="T41" fmla="*/ 3 h 18"/>
                  <a:gd name="T42" fmla="*/ 54 w 59"/>
                  <a:gd name="T43" fmla="*/ 0 h 18"/>
                  <a:gd name="T44" fmla="*/ 51 w 59"/>
                  <a:gd name="T45" fmla="*/ 0 h 18"/>
                  <a:gd name="T46" fmla="*/ 51 w 59"/>
                  <a:gd name="T4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9" h="18">
                    <a:moveTo>
                      <a:pt x="51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7" y="18"/>
                    </a:lnTo>
                    <a:lnTo>
                      <a:pt x="10" y="18"/>
                    </a:lnTo>
                    <a:lnTo>
                      <a:pt x="51" y="18"/>
                    </a:lnTo>
                    <a:lnTo>
                      <a:pt x="51" y="18"/>
                    </a:lnTo>
                    <a:lnTo>
                      <a:pt x="54" y="18"/>
                    </a:lnTo>
                    <a:lnTo>
                      <a:pt x="57" y="15"/>
                    </a:lnTo>
                    <a:lnTo>
                      <a:pt x="59" y="12"/>
                    </a:lnTo>
                    <a:lnTo>
                      <a:pt x="59" y="8"/>
                    </a:lnTo>
                    <a:lnTo>
                      <a:pt x="59" y="8"/>
                    </a:lnTo>
                    <a:lnTo>
                      <a:pt x="59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82"/>
              <p:cNvSpPr>
                <a:spLocks/>
              </p:cNvSpPr>
              <p:nvPr/>
            </p:nvSpPr>
            <p:spPr bwMode="auto">
              <a:xfrm>
                <a:off x="817563" y="2038350"/>
                <a:ext cx="14288" cy="46038"/>
              </a:xfrm>
              <a:custGeom>
                <a:avLst/>
                <a:gdLst>
                  <a:gd name="T0" fmla="*/ 9 w 17"/>
                  <a:gd name="T1" fmla="*/ 0 h 59"/>
                  <a:gd name="T2" fmla="*/ 9 w 17"/>
                  <a:gd name="T3" fmla="*/ 0 h 59"/>
                  <a:gd name="T4" fmla="*/ 5 w 17"/>
                  <a:gd name="T5" fmla="*/ 1 h 59"/>
                  <a:gd name="T6" fmla="*/ 2 w 17"/>
                  <a:gd name="T7" fmla="*/ 3 h 59"/>
                  <a:gd name="T8" fmla="*/ 0 w 17"/>
                  <a:gd name="T9" fmla="*/ 5 h 59"/>
                  <a:gd name="T10" fmla="*/ 0 w 17"/>
                  <a:gd name="T11" fmla="*/ 9 h 59"/>
                  <a:gd name="T12" fmla="*/ 0 w 17"/>
                  <a:gd name="T13" fmla="*/ 49 h 59"/>
                  <a:gd name="T14" fmla="*/ 0 w 17"/>
                  <a:gd name="T15" fmla="*/ 49 h 59"/>
                  <a:gd name="T16" fmla="*/ 0 w 17"/>
                  <a:gd name="T17" fmla="*/ 54 h 59"/>
                  <a:gd name="T18" fmla="*/ 2 w 17"/>
                  <a:gd name="T19" fmla="*/ 56 h 59"/>
                  <a:gd name="T20" fmla="*/ 5 w 17"/>
                  <a:gd name="T21" fmla="*/ 59 h 59"/>
                  <a:gd name="T22" fmla="*/ 9 w 17"/>
                  <a:gd name="T23" fmla="*/ 59 h 59"/>
                  <a:gd name="T24" fmla="*/ 9 w 17"/>
                  <a:gd name="T25" fmla="*/ 59 h 59"/>
                  <a:gd name="T26" fmla="*/ 12 w 17"/>
                  <a:gd name="T27" fmla="*/ 59 h 59"/>
                  <a:gd name="T28" fmla="*/ 14 w 17"/>
                  <a:gd name="T29" fmla="*/ 56 h 59"/>
                  <a:gd name="T30" fmla="*/ 17 w 17"/>
                  <a:gd name="T31" fmla="*/ 54 h 59"/>
                  <a:gd name="T32" fmla="*/ 17 w 17"/>
                  <a:gd name="T33" fmla="*/ 49 h 59"/>
                  <a:gd name="T34" fmla="*/ 17 w 17"/>
                  <a:gd name="T35" fmla="*/ 9 h 59"/>
                  <a:gd name="T36" fmla="*/ 17 w 17"/>
                  <a:gd name="T37" fmla="*/ 9 h 59"/>
                  <a:gd name="T38" fmla="*/ 17 w 17"/>
                  <a:gd name="T39" fmla="*/ 5 h 59"/>
                  <a:gd name="T40" fmla="*/ 14 w 17"/>
                  <a:gd name="T41" fmla="*/ 3 h 59"/>
                  <a:gd name="T42" fmla="*/ 12 w 17"/>
                  <a:gd name="T43" fmla="*/ 1 h 59"/>
                  <a:gd name="T44" fmla="*/ 9 w 17"/>
                  <a:gd name="T45" fmla="*/ 0 h 59"/>
                  <a:gd name="T46" fmla="*/ 9 w 17"/>
                  <a:gd name="T47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59">
                    <a:moveTo>
                      <a:pt x="9" y="0"/>
                    </a:moveTo>
                    <a:lnTo>
                      <a:pt x="9" y="0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5" y="59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12" y="59"/>
                    </a:lnTo>
                    <a:lnTo>
                      <a:pt x="14" y="56"/>
                    </a:lnTo>
                    <a:lnTo>
                      <a:pt x="17" y="54"/>
                    </a:lnTo>
                    <a:lnTo>
                      <a:pt x="17" y="49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83"/>
              <p:cNvSpPr>
                <a:spLocks/>
              </p:cNvSpPr>
              <p:nvPr/>
            </p:nvSpPr>
            <p:spPr bwMode="auto">
              <a:xfrm>
                <a:off x="663576" y="1917700"/>
                <a:ext cx="47625" cy="14288"/>
              </a:xfrm>
              <a:custGeom>
                <a:avLst/>
                <a:gdLst>
                  <a:gd name="T0" fmla="*/ 50 w 59"/>
                  <a:gd name="T1" fmla="*/ 0 h 18"/>
                  <a:gd name="T2" fmla="*/ 10 w 59"/>
                  <a:gd name="T3" fmla="*/ 0 h 18"/>
                  <a:gd name="T4" fmla="*/ 10 w 59"/>
                  <a:gd name="T5" fmla="*/ 0 h 18"/>
                  <a:gd name="T6" fmla="*/ 6 w 59"/>
                  <a:gd name="T7" fmla="*/ 0 h 18"/>
                  <a:gd name="T8" fmla="*/ 3 w 59"/>
                  <a:gd name="T9" fmla="*/ 3 h 18"/>
                  <a:gd name="T10" fmla="*/ 2 w 59"/>
                  <a:gd name="T11" fmla="*/ 5 h 18"/>
                  <a:gd name="T12" fmla="*/ 0 w 59"/>
                  <a:gd name="T13" fmla="*/ 8 h 18"/>
                  <a:gd name="T14" fmla="*/ 0 w 59"/>
                  <a:gd name="T15" fmla="*/ 8 h 18"/>
                  <a:gd name="T16" fmla="*/ 2 w 59"/>
                  <a:gd name="T17" fmla="*/ 12 h 18"/>
                  <a:gd name="T18" fmla="*/ 3 w 59"/>
                  <a:gd name="T19" fmla="*/ 15 h 18"/>
                  <a:gd name="T20" fmla="*/ 6 w 59"/>
                  <a:gd name="T21" fmla="*/ 18 h 18"/>
                  <a:gd name="T22" fmla="*/ 10 w 59"/>
                  <a:gd name="T23" fmla="*/ 18 h 18"/>
                  <a:gd name="T24" fmla="*/ 50 w 59"/>
                  <a:gd name="T25" fmla="*/ 18 h 18"/>
                  <a:gd name="T26" fmla="*/ 50 w 59"/>
                  <a:gd name="T27" fmla="*/ 18 h 18"/>
                  <a:gd name="T28" fmla="*/ 54 w 59"/>
                  <a:gd name="T29" fmla="*/ 18 h 18"/>
                  <a:gd name="T30" fmla="*/ 57 w 59"/>
                  <a:gd name="T31" fmla="*/ 15 h 18"/>
                  <a:gd name="T32" fmla="*/ 58 w 59"/>
                  <a:gd name="T33" fmla="*/ 12 h 18"/>
                  <a:gd name="T34" fmla="*/ 59 w 59"/>
                  <a:gd name="T35" fmla="*/ 8 h 18"/>
                  <a:gd name="T36" fmla="*/ 59 w 59"/>
                  <a:gd name="T37" fmla="*/ 8 h 18"/>
                  <a:gd name="T38" fmla="*/ 58 w 59"/>
                  <a:gd name="T39" fmla="*/ 5 h 18"/>
                  <a:gd name="T40" fmla="*/ 57 w 59"/>
                  <a:gd name="T41" fmla="*/ 3 h 18"/>
                  <a:gd name="T42" fmla="*/ 54 w 59"/>
                  <a:gd name="T43" fmla="*/ 0 h 18"/>
                  <a:gd name="T44" fmla="*/ 50 w 59"/>
                  <a:gd name="T45" fmla="*/ 0 h 18"/>
                  <a:gd name="T46" fmla="*/ 50 w 59"/>
                  <a:gd name="T4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9" h="18">
                    <a:moveTo>
                      <a:pt x="5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3" y="15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7" y="15"/>
                    </a:lnTo>
                    <a:lnTo>
                      <a:pt x="58" y="12"/>
                    </a:lnTo>
                    <a:lnTo>
                      <a:pt x="59" y="8"/>
                    </a:lnTo>
                    <a:lnTo>
                      <a:pt x="59" y="8"/>
                    </a:lnTo>
                    <a:lnTo>
                      <a:pt x="58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0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918497" y="1954798"/>
            <a:ext cx="5477855" cy="1366610"/>
            <a:chOff x="893356" y="2417708"/>
            <a:chExt cx="5478568" cy="1366788"/>
          </a:xfrm>
        </p:grpSpPr>
        <p:grpSp>
          <p:nvGrpSpPr>
            <p:cNvPr id="17" name="Group 16"/>
            <p:cNvGrpSpPr>
              <a:grpSpLocks noChangeAspect="1"/>
            </p:cNvGrpSpPr>
            <p:nvPr/>
          </p:nvGrpSpPr>
          <p:grpSpPr>
            <a:xfrm>
              <a:off x="893356" y="2885102"/>
              <a:ext cx="433317" cy="432000"/>
              <a:chOff x="4071938" y="822325"/>
              <a:chExt cx="522288" cy="520700"/>
            </a:xfrm>
          </p:grpSpPr>
          <p:sp>
            <p:nvSpPr>
              <p:cNvPr id="19" name="Freeform 9"/>
              <p:cNvSpPr>
                <a:spLocks noEditPoints="1"/>
              </p:cNvSpPr>
              <p:nvPr/>
            </p:nvSpPr>
            <p:spPr bwMode="auto">
              <a:xfrm>
                <a:off x="4071938" y="822325"/>
                <a:ext cx="522288" cy="520700"/>
              </a:xfrm>
              <a:custGeom>
                <a:avLst/>
                <a:gdLst>
                  <a:gd name="T0" fmla="*/ 313 w 658"/>
                  <a:gd name="T1" fmla="*/ 657 h 657"/>
                  <a:gd name="T2" fmla="*/ 263 w 658"/>
                  <a:gd name="T3" fmla="*/ 650 h 657"/>
                  <a:gd name="T4" fmla="*/ 201 w 658"/>
                  <a:gd name="T5" fmla="*/ 631 h 657"/>
                  <a:gd name="T6" fmla="*/ 120 w 658"/>
                  <a:gd name="T7" fmla="*/ 582 h 657"/>
                  <a:gd name="T8" fmla="*/ 56 w 658"/>
                  <a:gd name="T9" fmla="*/ 512 h 657"/>
                  <a:gd name="T10" fmla="*/ 14 w 658"/>
                  <a:gd name="T11" fmla="*/ 426 h 657"/>
                  <a:gd name="T12" fmla="*/ 4 w 658"/>
                  <a:gd name="T13" fmla="*/ 379 h 657"/>
                  <a:gd name="T14" fmla="*/ 0 w 658"/>
                  <a:gd name="T15" fmla="*/ 329 h 657"/>
                  <a:gd name="T16" fmla="*/ 2 w 658"/>
                  <a:gd name="T17" fmla="*/ 295 h 657"/>
                  <a:gd name="T18" fmla="*/ 10 w 658"/>
                  <a:gd name="T19" fmla="*/ 246 h 657"/>
                  <a:gd name="T20" fmla="*/ 40 w 658"/>
                  <a:gd name="T21" fmla="*/ 172 h 657"/>
                  <a:gd name="T22" fmla="*/ 96 w 658"/>
                  <a:gd name="T23" fmla="*/ 97 h 657"/>
                  <a:gd name="T24" fmla="*/ 173 w 658"/>
                  <a:gd name="T25" fmla="*/ 39 h 657"/>
                  <a:gd name="T26" fmla="*/ 247 w 658"/>
                  <a:gd name="T27" fmla="*/ 9 h 657"/>
                  <a:gd name="T28" fmla="*/ 295 w 658"/>
                  <a:gd name="T29" fmla="*/ 1 h 657"/>
                  <a:gd name="T30" fmla="*/ 329 w 658"/>
                  <a:gd name="T31" fmla="*/ 0 h 657"/>
                  <a:gd name="T32" fmla="*/ 378 w 658"/>
                  <a:gd name="T33" fmla="*/ 4 h 657"/>
                  <a:gd name="T34" fmla="*/ 427 w 658"/>
                  <a:gd name="T35" fmla="*/ 15 h 657"/>
                  <a:gd name="T36" fmla="*/ 513 w 658"/>
                  <a:gd name="T37" fmla="*/ 56 h 657"/>
                  <a:gd name="T38" fmla="*/ 583 w 658"/>
                  <a:gd name="T39" fmla="*/ 120 h 657"/>
                  <a:gd name="T40" fmla="*/ 632 w 658"/>
                  <a:gd name="T41" fmla="*/ 200 h 657"/>
                  <a:gd name="T42" fmla="*/ 651 w 658"/>
                  <a:gd name="T43" fmla="*/ 262 h 657"/>
                  <a:gd name="T44" fmla="*/ 658 w 658"/>
                  <a:gd name="T45" fmla="*/ 312 h 657"/>
                  <a:gd name="T46" fmla="*/ 658 w 658"/>
                  <a:gd name="T47" fmla="*/ 345 h 657"/>
                  <a:gd name="T48" fmla="*/ 651 w 658"/>
                  <a:gd name="T49" fmla="*/ 395 h 657"/>
                  <a:gd name="T50" fmla="*/ 632 w 658"/>
                  <a:gd name="T51" fmla="*/ 457 h 657"/>
                  <a:gd name="T52" fmla="*/ 583 w 658"/>
                  <a:gd name="T53" fmla="*/ 537 h 657"/>
                  <a:gd name="T54" fmla="*/ 513 w 658"/>
                  <a:gd name="T55" fmla="*/ 600 h 657"/>
                  <a:gd name="T56" fmla="*/ 427 w 658"/>
                  <a:gd name="T57" fmla="*/ 642 h 657"/>
                  <a:gd name="T58" fmla="*/ 378 w 658"/>
                  <a:gd name="T59" fmla="*/ 653 h 657"/>
                  <a:gd name="T60" fmla="*/ 329 w 658"/>
                  <a:gd name="T61" fmla="*/ 657 h 657"/>
                  <a:gd name="T62" fmla="*/ 329 w 658"/>
                  <a:gd name="T63" fmla="*/ 38 h 657"/>
                  <a:gd name="T64" fmla="*/ 243 w 658"/>
                  <a:gd name="T65" fmla="*/ 51 h 657"/>
                  <a:gd name="T66" fmla="*/ 166 w 658"/>
                  <a:gd name="T67" fmla="*/ 87 h 657"/>
                  <a:gd name="T68" fmla="*/ 104 w 658"/>
                  <a:gd name="T69" fmla="*/ 144 h 657"/>
                  <a:gd name="T70" fmla="*/ 61 w 658"/>
                  <a:gd name="T71" fmla="*/ 215 h 657"/>
                  <a:gd name="T72" fmla="*/ 40 w 658"/>
                  <a:gd name="T73" fmla="*/ 298 h 657"/>
                  <a:gd name="T74" fmla="*/ 40 w 658"/>
                  <a:gd name="T75" fmla="*/ 359 h 657"/>
                  <a:gd name="T76" fmla="*/ 61 w 658"/>
                  <a:gd name="T77" fmla="*/ 442 h 657"/>
                  <a:gd name="T78" fmla="*/ 104 w 658"/>
                  <a:gd name="T79" fmla="*/ 513 h 657"/>
                  <a:gd name="T80" fmla="*/ 166 w 658"/>
                  <a:gd name="T81" fmla="*/ 570 h 657"/>
                  <a:gd name="T82" fmla="*/ 243 w 658"/>
                  <a:gd name="T83" fmla="*/ 607 h 657"/>
                  <a:gd name="T84" fmla="*/ 329 w 658"/>
                  <a:gd name="T85" fmla="*/ 619 h 657"/>
                  <a:gd name="T86" fmla="*/ 388 w 658"/>
                  <a:gd name="T87" fmla="*/ 614 h 657"/>
                  <a:gd name="T88" fmla="*/ 467 w 658"/>
                  <a:gd name="T89" fmla="*/ 584 h 657"/>
                  <a:gd name="T90" fmla="*/ 534 w 658"/>
                  <a:gd name="T91" fmla="*/ 535 h 657"/>
                  <a:gd name="T92" fmla="*/ 585 w 658"/>
                  <a:gd name="T93" fmla="*/ 467 h 657"/>
                  <a:gd name="T94" fmla="*/ 615 w 658"/>
                  <a:gd name="T95" fmla="*/ 387 h 657"/>
                  <a:gd name="T96" fmla="*/ 620 w 658"/>
                  <a:gd name="T97" fmla="*/ 329 h 657"/>
                  <a:gd name="T98" fmla="*/ 607 w 658"/>
                  <a:gd name="T99" fmla="*/ 242 h 657"/>
                  <a:gd name="T100" fmla="*/ 570 w 658"/>
                  <a:gd name="T101" fmla="*/ 165 h 657"/>
                  <a:gd name="T102" fmla="*/ 514 w 658"/>
                  <a:gd name="T103" fmla="*/ 103 h 657"/>
                  <a:gd name="T104" fmla="*/ 443 w 658"/>
                  <a:gd name="T105" fmla="*/ 60 h 657"/>
                  <a:gd name="T106" fmla="*/ 358 w 658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8" h="657">
                    <a:moveTo>
                      <a:pt x="329" y="657"/>
                    </a:moveTo>
                    <a:lnTo>
                      <a:pt x="329" y="657"/>
                    </a:lnTo>
                    <a:lnTo>
                      <a:pt x="313" y="657"/>
                    </a:lnTo>
                    <a:lnTo>
                      <a:pt x="295" y="655"/>
                    </a:lnTo>
                    <a:lnTo>
                      <a:pt x="279" y="653"/>
                    </a:lnTo>
                    <a:lnTo>
                      <a:pt x="263" y="650"/>
                    </a:lnTo>
                    <a:lnTo>
                      <a:pt x="247" y="647"/>
                    </a:lnTo>
                    <a:lnTo>
                      <a:pt x="232" y="642"/>
                    </a:lnTo>
                    <a:lnTo>
                      <a:pt x="201" y="631"/>
                    </a:lnTo>
                    <a:lnTo>
                      <a:pt x="173" y="618"/>
                    </a:lnTo>
                    <a:lnTo>
                      <a:pt x="145" y="600"/>
                    </a:lnTo>
                    <a:lnTo>
                      <a:pt x="120" y="582"/>
                    </a:lnTo>
                    <a:lnTo>
                      <a:pt x="96" y="561"/>
                    </a:lnTo>
                    <a:lnTo>
                      <a:pt x="75" y="537"/>
                    </a:lnTo>
                    <a:lnTo>
                      <a:pt x="56" y="512"/>
                    </a:lnTo>
                    <a:lnTo>
                      <a:pt x="40" y="485"/>
                    </a:lnTo>
                    <a:lnTo>
                      <a:pt x="26" y="457"/>
                    </a:lnTo>
                    <a:lnTo>
                      <a:pt x="14" y="426"/>
                    </a:lnTo>
                    <a:lnTo>
                      <a:pt x="10" y="411"/>
                    </a:lnTo>
                    <a:lnTo>
                      <a:pt x="6" y="395"/>
                    </a:lnTo>
                    <a:lnTo>
                      <a:pt x="4" y="379"/>
                    </a:lnTo>
                    <a:lnTo>
                      <a:pt x="2" y="363"/>
                    </a:lnTo>
                    <a:lnTo>
                      <a:pt x="1" y="345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1" y="312"/>
                    </a:lnTo>
                    <a:lnTo>
                      <a:pt x="2" y="295"/>
                    </a:lnTo>
                    <a:lnTo>
                      <a:pt x="4" y="278"/>
                    </a:lnTo>
                    <a:lnTo>
                      <a:pt x="6" y="262"/>
                    </a:lnTo>
                    <a:lnTo>
                      <a:pt x="10" y="246"/>
                    </a:lnTo>
                    <a:lnTo>
                      <a:pt x="14" y="231"/>
                    </a:lnTo>
                    <a:lnTo>
                      <a:pt x="26" y="200"/>
                    </a:lnTo>
                    <a:lnTo>
                      <a:pt x="40" y="172"/>
                    </a:lnTo>
                    <a:lnTo>
                      <a:pt x="56" y="145"/>
                    </a:lnTo>
                    <a:lnTo>
                      <a:pt x="75" y="120"/>
                    </a:lnTo>
                    <a:lnTo>
                      <a:pt x="96" y="97"/>
                    </a:lnTo>
                    <a:lnTo>
                      <a:pt x="120" y="75"/>
                    </a:lnTo>
                    <a:lnTo>
                      <a:pt x="145" y="56"/>
                    </a:lnTo>
                    <a:lnTo>
                      <a:pt x="173" y="39"/>
                    </a:lnTo>
                    <a:lnTo>
                      <a:pt x="201" y="26"/>
                    </a:lnTo>
                    <a:lnTo>
                      <a:pt x="232" y="15"/>
                    </a:lnTo>
                    <a:lnTo>
                      <a:pt x="247" y="9"/>
                    </a:lnTo>
                    <a:lnTo>
                      <a:pt x="263" y="7"/>
                    </a:lnTo>
                    <a:lnTo>
                      <a:pt x="279" y="4"/>
                    </a:lnTo>
                    <a:lnTo>
                      <a:pt x="295" y="1"/>
                    </a:lnTo>
                    <a:lnTo>
                      <a:pt x="313" y="0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6" y="0"/>
                    </a:lnTo>
                    <a:lnTo>
                      <a:pt x="362" y="1"/>
                    </a:lnTo>
                    <a:lnTo>
                      <a:pt x="378" y="4"/>
                    </a:lnTo>
                    <a:lnTo>
                      <a:pt x="396" y="7"/>
                    </a:lnTo>
                    <a:lnTo>
                      <a:pt x="411" y="9"/>
                    </a:lnTo>
                    <a:lnTo>
                      <a:pt x="427" y="15"/>
                    </a:lnTo>
                    <a:lnTo>
                      <a:pt x="456" y="26"/>
                    </a:lnTo>
                    <a:lnTo>
                      <a:pt x="486" y="39"/>
                    </a:lnTo>
                    <a:lnTo>
                      <a:pt x="513" y="56"/>
                    </a:lnTo>
                    <a:lnTo>
                      <a:pt x="538" y="75"/>
                    </a:lnTo>
                    <a:lnTo>
                      <a:pt x="561" y="97"/>
                    </a:lnTo>
                    <a:lnTo>
                      <a:pt x="583" y="120"/>
                    </a:lnTo>
                    <a:lnTo>
                      <a:pt x="601" y="145"/>
                    </a:lnTo>
                    <a:lnTo>
                      <a:pt x="617" y="172"/>
                    </a:lnTo>
                    <a:lnTo>
                      <a:pt x="632" y="200"/>
                    </a:lnTo>
                    <a:lnTo>
                      <a:pt x="643" y="231"/>
                    </a:lnTo>
                    <a:lnTo>
                      <a:pt x="647" y="246"/>
                    </a:lnTo>
                    <a:lnTo>
                      <a:pt x="651" y="262"/>
                    </a:lnTo>
                    <a:lnTo>
                      <a:pt x="654" y="278"/>
                    </a:lnTo>
                    <a:lnTo>
                      <a:pt x="656" y="295"/>
                    </a:lnTo>
                    <a:lnTo>
                      <a:pt x="658" y="312"/>
                    </a:lnTo>
                    <a:lnTo>
                      <a:pt x="658" y="329"/>
                    </a:lnTo>
                    <a:lnTo>
                      <a:pt x="658" y="329"/>
                    </a:lnTo>
                    <a:lnTo>
                      <a:pt x="658" y="345"/>
                    </a:lnTo>
                    <a:lnTo>
                      <a:pt x="656" y="363"/>
                    </a:lnTo>
                    <a:lnTo>
                      <a:pt x="654" y="379"/>
                    </a:lnTo>
                    <a:lnTo>
                      <a:pt x="651" y="395"/>
                    </a:lnTo>
                    <a:lnTo>
                      <a:pt x="647" y="411"/>
                    </a:lnTo>
                    <a:lnTo>
                      <a:pt x="643" y="426"/>
                    </a:lnTo>
                    <a:lnTo>
                      <a:pt x="632" y="457"/>
                    </a:lnTo>
                    <a:lnTo>
                      <a:pt x="617" y="485"/>
                    </a:lnTo>
                    <a:lnTo>
                      <a:pt x="601" y="512"/>
                    </a:lnTo>
                    <a:lnTo>
                      <a:pt x="583" y="537"/>
                    </a:lnTo>
                    <a:lnTo>
                      <a:pt x="561" y="561"/>
                    </a:lnTo>
                    <a:lnTo>
                      <a:pt x="538" y="582"/>
                    </a:lnTo>
                    <a:lnTo>
                      <a:pt x="513" y="600"/>
                    </a:lnTo>
                    <a:lnTo>
                      <a:pt x="486" y="618"/>
                    </a:lnTo>
                    <a:lnTo>
                      <a:pt x="456" y="631"/>
                    </a:lnTo>
                    <a:lnTo>
                      <a:pt x="427" y="642"/>
                    </a:lnTo>
                    <a:lnTo>
                      <a:pt x="411" y="647"/>
                    </a:lnTo>
                    <a:lnTo>
                      <a:pt x="396" y="650"/>
                    </a:lnTo>
                    <a:lnTo>
                      <a:pt x="378" y="653"/>
                    </a:lnTo>
                    <a:lnTo>
                      <a:pt x="362" y="655"/>
                    </a:lnTo>
                    <a:lnTo>
                      <a:pt x="346" y="657"/>
                    </a:lnTo>
                    <a:lnTo>
                      <a:pt x="329" y="657"/>
                    </a:lnTo>
                    <a:lnTo>
                      <a:pt x="329" y="657"/>
                    </a:lnTo>
                    <a:close/>
                    <a:moveTo>
                      <a:pt x="329" y="38"/>
                    </a:moveTo>
                    <a:lnTo>
                      <a:pt x="329" y="38"/>
                    </a:lnTo>
                    <a:lnTo>
                      <a:pt x="299" y="39"/>
                    </a:lnTo>
                    <a:lnTo>
                      <a:pt x="271" y="43"/>
                    </a:lnTo>
                    <a:lnTo>
                      <a:pt x="243" y="51"/>
                    </a:lnTo>
                    <a:lnTo>
                      <a:pt x="216" y="60"/>
                    </a:lnTo>
                    <a:lnTo>
                      <a:pt x="190" y="73"/>
                    </a:lnTo>
                    <a:lnTo>
                      <a:pt x="166" y="87"/>
                    </a:lnTo>
                    <a:lnTo>
                      <a:pt x="143" y="103"/>
                    </a:lnTo>
                    <a:lnTo>
                      <a:pt x="123" y="122"/>
                    </a:lnTo>
                    <a:lnTo>
                      <a:pt x="104" y="144"/>
                    </a:lnTo>
                    <a:lnTo>
                      <a:pt x="88" y="165"/>
                    </a:lnTo>
                    <a:lnTo>
                      <a:pt x="73" y="189"/>
                    </a:lnTo>
                    <a:lnTo>
                      <a:pt x="61" y="215"/>
                    </a:lnTo>
                    <a:lnTo>
                      <a:pt x="51" y="242"/>
                    </a:lnTo>
                    <a:lnTo>
                      <a:pt x="44" y="270"/>
                    </a:lnTo>
                    <a:lnTo>
                      <a:pt x="40" y="298"/>
                    </a:lnTo>
                    <a:lnTo>
                      <a:pt x="37" y="329"/>
                    </a:lnTo>
                    <a:lnTo>
                      <a:pt x="37" y="329"/>
                    </a:lnTo>
                    <a:lnTo>
                      <a:pt x="40" y="359"/>
                    </a:lnTo>
                    <a:lnTo>
                      <a:pt x="44" y="387"/>
                    </a:lnTo>
                    <a:lnTo>
                      <a:pt x="51" y="415"/>
                    </a:lnTo>
                    <a:lnTo>
                      <a:pt x="61" y="442"/>
                    </a:lnTo>
                    <a:lnTo>
                      <a:pt x="73" y="467"/>
                    </a:lnTo>
                    <a:lnTo>
                      <a:pt x="88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3" y="553"/>
                    </a:lnTo>
                    <a:lnTo>
                      <a:pt x="166" y="570"/>
                    </a:lnTo>
                    <a:lnTo>
                      <a:pt x="190" y="584"/>
                    </a:lnTo>
                    <a:lnTo>
                      <a:pt x="216" y="596"/>
                    </a:lnTo>
                    <a:lnTo>
                      <a:pt x="243" y="607"/>
                    </a:lnTo>
                    <a:lnTo>
                      <a:pt x="271" y="614"/>
                    </a:lnTo>
                    <a:lnTo>
                      <a:pt x="299" y="618"/>
                    </a:lnTo>
                    <a:lnTo>
                      <a:pt x="329" y="619"/>
                    </a:lnTo>
                    <a:lnTo>
                      <a:pt x="329" y="619"/>
                    </a:lnTo>
                    <a:lnTo>
                      <a:pt x="358" y="618"/>
                    </a:lnTo>
                    <a:lnTo>
                      <a:pt x="388" y="614"/>
                    </a:lnTo>
                    <a:lnTo>
                      <a:pt x="416" y="607"/>
                    </a:lnTo>
                    <a:lnTo>
                      <a:pt x="443" y="596"/>
                    </a:lnTo>
                    <a:lnTo>
                      <a:pt x="467" y="584"/>
                    </a:lnTo>
                    <a:lnTo>
                      <a:pt x="491" y="570"/>
                    </a:lnTo>
                    <a:lnTo>
                      <a:pt x="514" y="553"/>
                    </a:lnTo>
                    <a:lnTo>
                      <a:pt x="534" y="535"/>
                    </a:lnTo>
                    <a:lnTo>
                      <a:pt x="553" y="513"/>
                    </a:lnTo>
                    <a:lnTo>
                      <a:pt x="570" y="492"/>
                    </a:lnTo>
                    <a:lnTo>
                      <a:pt x="585" y="467"/>
                    </a:lnTo>
                    <a:lnTo>
                      <a:pt x="597" y="442"/>
                    </a:lnTo>
                    <a:lnTo>
                      <a:pt x="607" y="415"/>
                    </a:lnTo>
                    <a:lnTo>
                      <a:pt x="615" y="387"/>
                    </a:lnTo>
                    <a:lnTo>
                      <a:pt x="619" y="359"/>
                    </a:lnTo>
                    <a:lnTo>
                      <a:pt x="620" y="329"/>
                    </a:lnTo>
                    <a:lnTo>
                      <a:pt x="620" y="329"/>
                    </a:lnTo>
                    <a:lnTo>
                      <a:pt x="619" y="298"/>
                    </a:lnTo>
                    <a:lnTo>
                      <a:pt x="615" y="270"/>
                    </a:lnTo>
                    <a:lnTo>
                      <a:pt x="607" y="242"/>
                    </a:lnTo>
                    <a:lnTo>
                      <a:pt x="597" y="215"/>
                    </a:lnTo>
                    <a:lnTo>
                      <a:pt x="585" y="189"/>
                    </a:lnTo>
                    <a:lnTo>
                      <a:pt x="570" y="165"/>
                    </a:lnTo>
                    <a:lnTo>
                      <a:pt x="553" y="144"/>
                    </a:lnTo>
                    <a:lnTo>
                      <a:pt x="534" y="122"/>
                    </a:lnTo>
                    <a:lnTo>
                      <a:pt x="514" y="103"/>
                    </a:lnTo>
                    <a:lnTo>
                      <a:pt x="491" y="87"/>
                    </a:lnTo>
                    <a:lnTo>
                      <a:pt x="467" y="73"/>
                    </a:lnTo>
                    <a:lnTo>
                      <a:pt x="443" y="60"/>
                    </a:lnTo>
                    <a:lnTo>
                      <a:pt x="416" y="51"/>
                    </a:lnTo>
                    <a:lnTo>
                      <a:pt x="388" y="43"/>
                    </a:lnTo>
                    <a:lnTo>
                      <a:pt x="358" y="39"/>
                    </a:lnTo>
                    <a:lnTo>
                      <a:pt x="329" y="38"/>
                    </a:lnTo>
                    <a:lnTo>
                      <a:pt x="329" y="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27"/>
              <p:cNvSpPr>
                <a:spLocks/>
              </p:cNvSpPr>
              <p:nvPr/>
            </p:nvSpPr>
            <p:spPr bwMode="auto">
              <a:xfrm>
                <a:off x="4233863" y="998538"/>
                <a:ext cx="223838" cy="163513"/>
              </a:xfrm>
              <a:custGeom>
                <a:avLst/>
                <a:gdLst>
                  <a:gd name="T0" fmla="*/ 278 w 282"/>
                  <a:gd name="T1" fmla="*/ 0 h 205"/>
                  <a:gd name="T2" fmla="*/ 4 w 282"/>
                  <a:gd name="T3" fmla="*/ 0 h 205"/>
                  <a:gd name="T4" fmla="*/ 4 w 282"/>
                  <a:gd name="T5" fmla="*/ 0 h 205"/>
                  <a:gd name="T6" fmla="*/ 1 w 282"/>
                  <a:gd name="T7" fmla="*/ 1 h 205"/>
                  <a:gd name="T8" fmla="*/ 0 w 282"/>
                  <a:gd name="T9" fmla="*/ 5 h 205"/>
                  <a:gd name="T10" fmla="*/ 0 w 282"/>
                  <a:gd name="T11" fmla="*/ 20 h 205"/>
                  <a:gd name="T12" fmla="*/ 258 w 282"/>
                  <a:gd name="T13" fmla="*/ 20 h 205"/>
                  <a:gd name="T14" fmla="*/ 258 w 282"/>
                  <a:gd name="T15" fmla="*/ 20 h 205"/>
                  <a:gd name="T16" fmla="*/ 262 w 282"/>
                  <a:gd name="T17" fmla="*/ 21 h 205"/>
                  <a:gd name="T18" fmla="*/ 263 w 282"/>
                  <a:gd name="T19" fmla="*/ 25 h 205"/>
                  <a:gd name="T20" fmla="*/ 263 w 282"/>
                  <a:gd name="T21" fmla="*/ 205 h 205"/>
                  <a:gd name="T22" fmla="*/ 278 w 282"/>
                  <a:gd name="T23" fmla="*/ 205 h 205"/>
                  <a:gd name="T24" fmla="*/ 278 w 282"/>
                  <a:gd name="T25" fmla="*/ 205 h 205"/>
                  <a:gd name="T26" fmla="*/ 280 w 282"/>
                  <a:gd name="T27" fmla="*/ 204 h 205"/>
                  <a:gd name="T28" fmla="*/ 282 w 282"/>
                  <a:gd name="T29" fmla="*/ 200 h 205"/>
                  <a:gd name="T30" fmla="*/ 282 w 282"/>
                  <a:gd name="T31" fmla="*/ 5 h 205"/>
                  <a:gd name="T32" fmla="*/ 282 w 282"/>
                  <a:gd name="T33" fmla="*/ 5 h 205"/>
                  <a:gd name="T34" fmla="*/ 280 w 282"/>
                  <a:gd name="T35" fmla="*/ 1 h 205"/>
                  <a:gd name="T36" fmla="*/ 278 w 282"/>
                  <a:gd name="T37" fmla="*/ 0 h 205"/>
                  <a:gd name="T38" fmla="*/ 278 w 282"/>
                  <a:gd name="T39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2" h="205">
                    <a:moveTo>
                      <a:pt x="278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0" y="20"/>
                    </a:lnTo>
                    <a:lnTo>
                      <a:pt x="258" y="20"/>
                    </a:lnTo>
                    <a:lnTo>
                      <a:pt x="258" y="20"/>
                    </a:lnTo>
                    <a:lnTo>
                      <a:pt x="262" y="21"/>
                    </a:lnTo>
                    <a:lnTo>
                      <a:pt x="263" y="25"/>
                    </a:lnTo>
                    <a:lnTo>
                      <a:pt x="263" y="205"/>
                    </a:lnTo>
                    <a:lnTo>
                      <a:pt x="278" y="205"/>
                    </a:lnTo>
                    <a:lnTo>
                      <a:pt x="278" y="205"/>
                    </a:lnTo>
                    <a:lnTo>
                      <a:pt x="280" y="204"/>
                    </a:lnTo>
                    <a:lnTo>
                      <a:pt x="282" y="200"/>
                    </a:lnTo>
                    <a:lnTo>
                      <a:pt x="282" y="5"/>
                    </a:lnTo>
                    <a:lnTo>
                      <a:pt x="282" y="5"/>
                    </a:lnTo>
                    <a:lnTo>
                      <a:pt x="280" y="1"/>
                    </a:lnTo>
                    <a:lnTo>
                      <a:pt x="278" y="0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28"/>
              <p:cNvSpPr>
                <a:spLocks noEditPoints="1"/>
              </p:cNvSpPr>
              <p:nvPr/>
            </p:nvSpPr>
            <p:spPr bwMode="auto">
              <a:xfrm>
                <a:off x="4241801" y="1054100"/>
                <a:ext cx="163513" cy="101600"/>
              </a:xfrm>
              <a:custGeom>
                <a:avLst/>
                <a:gdLst>
                  <a:gd name="T0" fmla="*/ 167 w 206"/>
                  <a:gd name="T1" fmla="*/ 128 h 128"/>
                  <a:gd name="T2" fmla="*/ 168 w 206"/>
                  <a:gd name="T3" fmla="*/ 120 h 128"/>
                  <a:gd name="T4" fmla="*/ 173 w 206"/>
                  <a:gd name="T5" fmla="*/ 107 h 128"/>
                  <a:gd name="T6" fmla="*/ 184 w 206"/>
                  <a:gd name="T7" fmla="*/ 97 h 128"/>
                  <a:gd name="T8" fmla="*/ 198 w 206"/>
                  <a:gd name="T9" fmla="*/ 90 h 128"/>
                  <a:gd name="T10" fmla="*/ 206 w 206"/>
                  <a:gd name="T11" fmla="*/ 39 h 128"/>
                  <a:gd name="T12" fmla="*/ 198 w 206"/>
                  <a:gd name="T13" fmla="*/ 38 h 128"/>
                  <a:gd name="T14" fmla="*/ 184 w 206"/>
                  <a:gd name="T15" fmla="*/ 31 h 128"/>
                  <a:gd name="T16" fmla="*/ 173 w 206"/>
                  <a:gd name="T17" fmla="*/ 22 h 128"/>
                  <a:gd name="T18" fmla="*/ 168 w 206"/>
                  <a:gd name="T19" fmla="*/ 9 h 128"/>
                  <a:gd name="T20" fmla="*/ 39 w 206"/>
                  <a:gd name="T21" fmla="*/ 0 h 128"/>
                  <a:gd name="T22" fmla="*/ 38 w 206"/>
                  <a:gd name="T23" fmla="*/ 9 h 128"/>
                  <a:gd name="T24" fmla="*/ 31 w 206"/>
                  <a:gd name="T25" fmla="*/ 22 h 128"/>
                  <a:gd name="T26" fmla="*/ 22 w 206"/>
                  <a:gd name="T27" fmla="*/ 31 h 128"/>
                  <a:gd name="T28" fmla="*/ 8 w 206"/>
                  <a:gd name="T29" fmla="*/ 38 h 128"/>
                  <a:gd name="T30" fmla="*/ 0 w 206"/>
                  <a:gd name="T31" fmla="*/ 84 h 128"/>
                  <a:gd name="T32" fmla="*/ 8 w 206"/>
                  <a:gd name="T33" fmla="*/ 85 h 128"/>
                  <a:gd name="T34" fmla="*/ 22 w 206"/>
                  <a:gd name="T35" fmla="*/ 93 h 128"/>
                  <a:gd name="T36" fmla="*/ 31 w 206"/>
                  <a:gd name="T37" fmla="*/ 105 h 128"/>
                  <a:gd name="T38" fmla="*/ 38 w 206"/>
                  <a:gd name="T39" fmla="*/ 120 h 128"/>
                  <a:gd name="T40" fmla="*/ 39 w 206"/>
                  <a:gd name="T41" fmla="*/ 128 h 128"/>
                  <a:gd name="T42" fmla="*/ 102 w 206"/>
                  <a:gd name="T43" fmla="*/ 30 h 128"/>
                  <a:gd name="T44" fmla="*/ 116 w 206"/>
                  <a:gd name="T45" fmla="*/ 33 h 128"/>
                  <a:gd name="T46" fmla="*/ 126 w 206"/>
                  <a:gd name="T47" fmla="*/ 39 h 128"/>
                  <a:gd name="T48" fmla="*/ 134 w 206"/>
                  <a:gd name="T49" fmla="*/ 50 h 128"/>
                  <a:gd name="T50" fmla="*/ 137 w 206"/>
                  <a:gd name="T51" fmla="*/ 64 h 128"/>
                  <a:gd name="T52" fmla="*/ 136 w 206"/>
                  <a:gd name="T53" fmla="*/ 70 h 128"/>
                  <a:gd name="T54" fmla="*/ 130 w 206"/>
                  <a:gd name="T55" fmla="*/ 84 h 128"/>
                  <a:gd name="T56" fmla="*/ 122 w 206"/>
                  <a:gd name="T57" fmla="*/ 92 h 128"/>
                  <a:gd name="T58" fmla="*/ 109 w 206"/>
                  <a:gd name="T59" fmla="*/ 97 h 128"/>
                  <a:gd name="T60" fmla="*/ 102 w 206"/>
                  <a:gd name="T61" fmla="*/ 99 h 128"/>
                  <a:gd name="T62" fmla="*/ 89 w 206"/>
                  <a:gd name="T63" fmla="*/ 96 h 128"/>
                  <a:gd name="T64" fmla="*/ 78 w 206"/>
                  <a:gd name="T65" fmla="*/ 88 h 128"/>
                  <a:gd name="T66" fmla="*/ 71 w 206"/>
                  <a:gd name="T67" fmla="*/ 77 h 128"/>
                  <a:gd name="T68" fmla="*/ 69 w 206"/>
                  <a:gd name="T69" fmla="*/ 64 h 128"/>
                  <a:gd name="T70" fmla="*/ 69 w 206"/>
                  <a:gd name="T71" fmla="*/ 57 h 128"/>
                  <a:gd name="T72" fmla="*/ 74 w 206"/>
                  <a:gd name="T73" fmla="*/ 45 h 128"/>
                  <a:gd name="T74" fmla="*/ 83 w 206"/>
                  <a:gd name="T75" fmla="*/ 35 h 128"/>
                  <a:gd name="T76" fmla="*/ 96 w 206"/>
                  <a:gd name="T77" fmla="*/ 30 h 128"/>
                  <a:gd name="T78" fmla="*/ 102 w 206"/>
                  <a:gd name="T79" fmla="*/ 3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06" h="128">
                    <a:moveTo>
                      <a:pt x="39" y="128"/>
                    </a:moveTo>
                    <a:lnTo>
                      <a:pt x="167" y="128"/>
                    </a:lnTo>
                    <a:lnTo>
                      <a:pt x="167" y="128"/>
                    </a:lnTo>
                    <a:lnTo>
                      <a:pt x="168" y="120"/>
                    </a:lnTo>
                    <a:lnTo>
                      <a:pt x="171" y="113"/>
                    </a:lnTo>
                    <a:lnTo>
                      <a:pt x="173" y="107"/>
                    </a:lnTo>
                    <a:lnTo>
                      <a:pt x="179" y="101"/>
                    </a:lnTo>
                    <a:lnTo>
                      <a:pt x="184" y="97"/>
                    </a:lnTo>
                    <a:lnTo>
                      <a:pt x="191" y="93"/>
                    </a:lnTo>
                    <a:lnTo>
                      <a:pt x="198" y="90"/>
                    </a:lnTo>
                    <a:lnTo>
                      <a:pt x="206" y="89"/>
                    </a:lnTo>
                    <a:lnTo>
                      <a:pt x="206" y="39"/>
                    </a:lnTo>
                    <a:lnTo>
                      <a:pt x="206" y="39"/>
                    </a:lnTo>
                    <a:lnTo>
                      <a:pt x="198" y="38"/>
                    </a:lnTo>
                    <a:lnTo>
                      <a:pt x="191" y="35"/>
                    </a:lnTo>
                    <a:lnTo>
                      <a:pt x="184" y="31"/>
                    </a:lnTo>
                    <a:lnTo>
                      <a:pt x="179" y="27"/>
                    </a:lnTo>
                    <a:lnTo>
                      <a:pt x="173" y="22"/>
                    </a:lnTo>
                    <a:lnTo>
                      <a:pt x="171" y="15"/>
                    </a:lnTo>
                    <a:lnTo>
                      <a:pt x="168" y="9"/>
                    </a:lnTo>
                    <a:lnTo>
                      <a:pt x="167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8" y="9"/>
                    </a:lnTo>
                    <a:lnTo>
                      <a:pt x="35" y="15"/>
                    </a:lnTo>
                    <a:lnTo>
                      <a:pt x="31" y="22"/>
                    </a:lnTo>
                    <a:lnTo>
                      <a:pt x="27" y="27"/>
                    </a:lnTo>
                    <a:lnTo>
                      <a:pt x="22" y="31"/>
                    </a:lnTo>
                    <a:lnTo>
                      <a:pt x="15" y="35"/>
                    </a:lnTo>
                    <a:lnTo>
                      <a:pt x="8" y="38"/>
                    </a:lnTo>
                    <a:lnTo>
                      <a:pt x="0" y="39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8" y="85"/>
                    </a:lnTo>
                    <a:lnTo>
                      <a:pt x="15" y="89"/>
                    </a:lnTo>
                    <a:lnTo>
                      <a:pt x="22" y="93"/>
                    </a:lnTo>
                    <a:lnTo>
                      <a:pt x="27" y="99"/>
                    </a:lnTo>
                    <a:lnTo>
                      <a:pt x="31" y="105"/>
                    </a:lnTo>
                    <a:lnTo>
                      <a:pt x="35" y="112"/>
                    </a:lnTo>
                    <a:lnTo>
                      <a:pt x="38" y="120"/>
                    </a:lnTo>
                    <a:lnTo>
                      <a:pt x="39" y="128"/>
                    </a:lnTo>
                    <a:lnTo>
                      <a:pt x="39" y="128"/>
                    </a:lnTo>
                    <a:close/>
                    <a:moveTo>
                      <a:pt x="102" y="30"/>
                    </a:moveTo>
                    <a:lnTo>
                      <a:pt x="102" y="30"/>
                    </a:lnTo>
                    <a:lnTo>
                      <a:pt x="109" y="30"/>
                    </a:lnTo>
                    <a:lnTo>
                      <a:pt x="116" y="33"/>
                    </a:lnTo>
                    <a:lnTo>
                      <a:pt x="122" y="35"/>
                    </a:lnTo>
                    <a:lnTo>
                      <a:pt x="126" y="39"/>
                    </a:lnTo>
                    <a:lnTo>
                      <a:pt x="130" y="45"/>
                    </a:lnTo>
                    <a:lnTo>
                      <a:pt x="134" y="50"/>
                    </a:lnTo>
                    <a:lnTo>
                      <a:pt x="136" y="57"/>
                    </a:lnTo>
                    <a:lnTo>
                      <a:pt x="137" y="64"/>
                    </a:lnTo>
                    <a:lnTo>
                      <a:pt x="137" y="64"/>
                    </a:lnTo>
                    <a:lnTo>
                      <a:pt x="136" y="70"/>
                    </a:lnTo>
                    <a:lnTo>
                      <a:pt x="134" y="77"/>
                    </a:lnTo>
                    <a:lnTo>
                      <a:pt x="130" y="84"/>
                    </a:lnTo>
                    <a:lnTo>
                      <a:pt x="126" y="88"/>
                    </a:lnTo>
                    <a:lnTo>
                      <a:pt x="122" y="92"/>
                    </a:lnTo>
                    <a:lnTo>
                      <a:pt x="116" y="96"/>
                    </a:lnTo>
                    <a:lnTo>
                      <a:pt x="109" y="97"/>
                    </a:lnTo>
                    <a:lnTo>
                      <a:pt x="102" y="99"/>
                    </a:lnTo>
                    <a:lnTo>
                      <a:pt x="102" y="99"/>
                    </a:lnTo>
                    <a:lnTo>
                      <a:pt x="96" y="97"/>
                    </a:lnTo>
                    <a:lnTo>
                      <a:pt x="89" y="96"/>
                    </a:lnTo>
                    <a:lnTo>
                      <a:pt x="83" y="92"/>
                    </a:lnTo>
                    <a:lnTo>
                      <a:pt x="78" y="88"/>
                    </a:lnTo>
                    <a:lnTo>
                      <a:pt x="74" y="84"/>
                    </a:lnTo>
                    <a:lnTo>
                      <a:pt x="71" y="77"/>
                    </a:lnTo>
                    <a:lnTo>
                      <a:pt x="69" y="70"/>
                    </a:lnTo>
                    <a:lnTo>
                      <a:pt x="69" y="64"/>
                    </a:lnTo>
                    <a:lnTo>
                      <a:pt x="69" y="64"/>
                    </a:lnTo>
                    <a:lnTo>
                      <a:pt x="69" y="57"/>
                    </a:lnTo>
                    <a:lnTo>
                      <a:pt x="71" y="50"/>
                    </a:lnTo>
                    <a:lnTo>
                      <a:pt x="74" y="45"/>
                    </a:lnTo>
                    <a:lnTo>
                      <a:pt x="78" y="39"/>
                    </a:lnTo>
                    <a:lnTo>
                      <a:pt x="83" y="35"/>
                    </a:lnTo>
                    <a:lnTo>
                      <a:pt x="89" y="33"/>
                    </a:lnTo>
                    <a:lnTo>
                      <a:pt x="96" y="30"/>
                    </a:lnTo>
                    <a:lnTo>
                      <a:pt x="102" y="30"/>
                    </a:lnTo>
                    <a:lnTo>
                      <a:pt x="102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29"/>
              <p:cNvSpPr>
                <a:spLocks noEditPoints="1"/>
              </p:cNvSpPr>
              <p:nvPr/>
            </p:nvSpPr>
            <p:spPr bwMode="auto">
              <a:xfrm>
                <a:off x="4211638" y="1022350"/>
                <a:ext cx="223838" cy="163513"/>
              </a:xfrm>
              <a:custGeom>
                <a:avLst/>
                <a:gdLst>
                  <a:gd name="T0" fmla="*/ 278 w 284"/>
                  <a:gd name="T1" fmla="*/ 205 h 205"/>
                  <a:gd name="T2" fmla="*/ 284 w 284"/>
                  <a:gd name="T3" fmla="*/ 200 h 205"/>
                  <a:gd name="T4" fmla="*/ 284 w 284"/>
                  <a:gd name="T5" fmla="*/ 5 h 205"/>
                  <a:gd name="T6" fmla="*/ 278 w 284"/>
                  <a:gd name="T7" fmla="*/ 0 h 205"/>
                  <a:gd name="T8" fmla="*/ 6 w 284"/>
                  <a:gd name="T9" fmla="*/ 0 h 205"/>
                  <a:gd name="T10" fmla="*/ 0 w 284"/>
                  <a:gd name="T11" fmla="*/ 5 h 205"/>
                  <a:gd name="T12" fmla="*/ 0 w 284"/>
                  <a:gd name="T13" fmla="*/ 200 h 205"/>
                  <a:gd name="T14" fmla="*/ 6 w 284"/>
                  <a:gd name="T15" fmla="*/ 205 h 205"/>
                  <a:gd name="T16" fmla="*/ 30 w 284"/>
                  <a:gd name="T17" fmla="*/ 73 h 205"/>
                  <a:gd name="T18" fmla="*/ 31 w 284"/>
                  <a:gd name="T19" fmla="*/ 69 h 205"/>
                  <a:gd name="T20" fmla="*/ 34 w 284"/>
                  <a:gd name="T21" fmla="*/ 68 h 205"/>
                  <a:gd name="T22" fmla="*/ 49 w 284"/>
                  <a:gd name="T23" fmla="*/ 65 h 205"/>
                  <a:gd name="T24" fmla="*/ 59 w 284"/>
                  <a:gd name="T25" fmla="*/ 59 h 205"/>
                  <a:gd name="T26" fmla="*/ 66 w 284"/>
                  <a:gd name="T27" fmla="*/ 48 h 205"/>
                  <a:gd name="T28" fmla="*/ 69 w 284"/>
                  <a:gd name="T29" fmla="*/ 34 h 205"/>
                  <a:gd name="T30" fmla="*/ 70 w 284"/>
                  <a:gd name="T31" fmla="*/ 30 h 205"/>
                  <a:gd name="T32" fmla="*/ 210 w 284"/>
                  <a:gd name="T33" fmla="*/ 29 h 205"/>
                  <a:gd name="T34" fmla="*/ 214 w 284"/>
                  <a:gd name="T35" fmla="*/ 30 h 205"/>
                  <a:gd name="T36" fmla="*/ 215 w 284"/>
                  <a:gd name="T37" fmla="*/ 34 h 205"/>
                  <a:gd name="T38" fmla="*/ 218 w 284"/>
                  <a:gd name="T39" fmla="*/ 48 h 205"/>
                  <a:gd name="T40" fmla="*/ 225 w 284"/>
                  <a:gd name="T41" fmla="*/ 59 h 205"/>
                  <a:gd name="T42" fmla="*/ 235 w 284"/>
                  <a:gd name="T43" fmla="*/ 65 h 205"/>
                  <a:gd name="T44" fmla="*/ 249 w 284"/>
                  <a:gd name="T45" fmla="*/ 68 h 205"/>
                  <a:gd name="T46" fmla="*/ 253 w 284"/>
                  <a:gd name="T47" fmla="*/ 69 h 205"/>
                  <a:gd name="T48" fmla="*/ 254 w 284"/>
                  <a:gd name="T49" fmla="*/ 131 h 205"/>
                  <a:gd name="T50" fmla="*/ 253 w 284"/>
                  <a:gd name="T51" fmla="*/ 135 h 205"/>
                  <a:gd name="T52" fmla="*/ 249 w 284"/>
                  <a:gd name="T53" fmla="*/ 137 h 205"/>
                  <a:gd name="T54" fmla="*/ 235 w 284"/>
                  <a:gd name="T55" fmla="*/ 139 h 205"/>
                  <a:gd name="T56" fmla="*/ 225 w 284"/>
                  <a:gd name="T57" fmla="*/ 146 h 205"/>
                  <a:gd name="T58" fmla="*/ 218 w 284"/>
                  <a:gd name="T59" fmla="*/ 157 h 205"/>
                  <a:gd name="T60" fmla="*/ 215 w 284"/>
                  <a:gd name="T61" fmla="*/ 170 h 205"/>
                  <a:gd name="T62" fmla="*/ 214 w 284"/>
                  <a:gd name="T63" fmla="*/ 174 h 205"/>
                  <a:gd name="T64" fmla="*/ 74 w 284"/>
                  <a:gd name="T65" fmla="*/ 175 h 205"/>
                  <a:gd name="T66" fmla="*/ 70 w 284"/>
                  <a:gd name="T67" fmla="*/ 174 h 205"/>
                  <a:gd name="T68" fmla="*/ 69 w 284"/>
                  <a:gd name="T69" fmla="*/ 170 h 205"/>
                  <a:gd name="T70" fmla="*/ 66 w 284"/>
                  <a:gd name="T71" fmla="*/ 157 h 205"/>
                  <a:gd name="T72" fmla="*/ 59 w 284"/>
                  <a:gd name="T73" fmla="*/ 145 h 205"/>
                  <a:gd name="T74" fmla="*/ 49 w 284"/>
                  <a:gd name="T75" fmla="*/ 135 h 205"/>
                  <a:gd name="T76" fmla="*/ 34 w 284"/>
                  <a:gd name="T77" fmla="*/ 131 h 205"/>
                  <a:gd name="T78" fmla="*/ 31 w 284"/>
                  <a:gd name="T79" fmla="*/ 130 h 205"/>
                  <a:gd name="T80" fmla="*/ 30 w 284"/>
                  <a:gd name="T81" fmla="*/ 73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4" h="205">
                    <a:moveTo>
                      <a:pt x="278" y="205"/>
                    </a:moveTo>
                    <a:lnTo>
                      <a:pt x="278" y="205"/>
                    </a:lnTo>
                    <a:lnTo>
                      <a:pt x="281" y="204"/>
                    </a:lnTo>
                    <a:lnTo>
                      <a:pt x="284" y="200"/>
                    </a:lnTo>
                    <a:lnTo>
                      <a:pt x="284" y="5"/>
                    </a:lnTo>
                    <a:lnTo>
                      <a:pt x="284" y="5"/>
                    </a:lnTo>
                    <a:lnTo>
                      <a:pt x="281" y="1"/>
                    </a:lnTo>
                    <a:lnTo>
                      <a:pt x="27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0" y="200"/>
                    </a:lnTo>
                    <a:lnTo>
                      <a:pt x="0" y="200"/>
                    </a:lnTo>
                    <a:lnTo>
                      <a:pt x="2" y="204"/>
                    </a:lnTo>
                    <a:lnTo>
                      <a:pt x="6" y="205"/>
                    </a:lnTo>
                    <a:lnTo>
                      <a:pt x="278" y="205"/>
                    </a:lnTo>
                    <a:close/>
                    <a:moveTo>
                      <a:pt x="30" y="73"/>
                    </a:moveTo>
                    <a:lnTo>
                      <a:pt x="30" y="73"/>
                    </a:lnTo>
                    <a:lnTo>
                      <a:pt x="31" y="69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2" y="67"/>
                    </a:lnTo>
                    <a:lnTo>
                      <a:pt x="49" y="65"/>
                    </a:lnTo>
                    <a:lnTo>
                      <a:pt x="54" y="63"/>
                    </a:lnTo>
                    <a:lnTo>
                      <a:pt x="59" y="59"/>
                    </a:lnTo>
                    <a:lnTo>
                      <a:pt x="63" y="53"/>
                    </a:lnTo>
                    <a:lnTo>
                      <a:pt x="66" y="48"/>
                    </a:lnTo>
                    <a:lnTo>
                      <a:pt x="67" y="41"/>
                    </a:lnTo>
                    <a:lnTo>
                      <a:pt x="69" y="34"/>
                    </a:lnTo>
                    <a:lnTo>
                      <a:pt x="69" y="34"/>
                    </a:lnTo>
                    <a:lnTo>
                      <a:pt x="70" y="30"/>
                    </a:lnTo>
                    <a:lnTo>
                      <a:pt x="74" y="29"/>
                    </a:lnTo>
                    <a:lnTo>
                      <a:pt x="210" y="29"/>
                    </a:lnTo>
                    <a:lnTo>
                      <a:pt x="210" y="29"/>
                    </a:lnTo>
                    <a:lnTo>
                      <a:pt x="214" y="30"/>
                    </a:lnTo>
                    <a:lnTo>
                      <a:pt x="215" y="34"/>
                    </a:lnTo>
                    <a:lnTo>
                      <a:pt x="215" y="34"/>
                    </a:lnTo>
                    <a:lnTo>
                      <a:pt x="215" y="41"/>
                    </a:lnTo>
                    <a:lnTo>
                      <a:pt x="218" y="48"/>
                    </a:lnTo>
                    <a:lnTo>
                      <a:pt x="220" y="53"/>
                    </a:lnTo>
                    <a:lnTo>
                      <a:pt x="225" y="59"/>
                    </a:lnTo>
                    <a:lnTo>
                      <a:pt x="230" y="63"/>
                    </a:lnTo>
                    <a:lnTo>
                      <a:pt x="235" y="65"/>
                    </a:lnTo>
                    <a:lnTo>
                      <a:pt x="242" y="67"/>
                    </a:lnTo>
                    <a:lnTo>
                      <a:pt x="249" y="68"/>
                    </a:lnTo>
                    <a:lnTo>
                      <a:pt x="249" y="68"/>
                    </a:lnTo>
                    <a:lnTo>
                      <a:pt x="253" y="69"/>
                    </a:lnTo>
                    <a:lnTo>
                      <a:pt x="254" y="73"/>
                    </a:lnTo>
                    <a:lnTo>
                      <a:pt x="254" y="131"/>
                    </a:lnTo>
                    <a:lnTo>
                      <a:pt x="254" y="131"/>
                    </a:lnTo>
                    <a:lnTo>
                      <a:pt x="253" y="135"/>
                    </a:lnTo>
                    <a:lnTo>
                      <a:pt x="249" y="137"/>
                    </a:lnTo>
                    <a:lnTo>
                      <a:pt x="249" y="137"/>
                    </a:lnTo>
                    <a:lnTo>
                      <a:pt x="242" y="137"/>
                    </a:lnTo>
                    <a:lnTo>
                      <a:pt x="235" y="139"/>
                    </a:lnTo>
                    <a:lnTo>
                      <a:pt x="230" y="142"/>
                    </a:lnTo>
                    <a:lnTo>
                      <a:pt x="225" y="146"/>
                    </a:lnTo>
                    <a:lnTo>
                      <a:pt x="220" y="151"/>
                    </a:lnTo>
                    <a:lnTo>
                      <a:pt x="218" y="157"/>
                    </a:lnTo>
                    <a:lnTo>
                      <a:pt x="215" y="163"/>
                    </a:lnTo>
                    <a:lnTo>
                      <a:pt x="215" y="170"/>
                    </a:lnTo>
                    <a:lnTo>
                      <a:pt x="215" y="170"/>
                    </a:lnTo>
                    <a:lnTo>
                      <a:pt x="214" y="174"/>
                    </a:lnTo>
                    <a:lnTo>
                      <a:pt x="210" y="175"/>
                    </a:lnTo>
                    <a:lnTo>
                      <a:pt x="74" y="175"/>
                    </a:lnTo>
                    <a:lnTo>
                      <a:pt x="74" y="175"/>
                    </a:lnTo>
                    <a:lnTo>
                      <a:pt x="70" y="174"/>
                    </a:lnTo>
                    <a:lnTo>
                      <a:pt x="69" y="170"/>
                    </a:lnTo>
                    <a:lnTo>
                      <a:pt x="69" y="170"/>
                    </a:lnTo>
                    <a:lnTo>
                      <a:pt x="67" y="163"/>
                    </a:lnTo>
                    <a:lnTo>
                      <a:pt x="66" y="157"/>
                    </a:lnTo>
                    <a:lnTo>
                      <a:pt x="63" y="150"/>
                    </a:lnTo>
                    <a:lnTo>
                      <a:pt x="59" y="145"/>
                    </a:lnTo>
                    <a:lnTo>
                      <a:pt x="54" y="139"/>
                    </a:lnTo>
                    <a:lnTo>
                      <a:pt x="49" y="135"/>
                    </a:lnTo>
                    <a:lnTo>
                      <a:pt x="42" y="132"/>
                    </a:lnTo>
                    <a:lnTo>
                      <a:pt x="34" y="131"/>
                    </a:lnTo>
                    <a:lnTo>
                      <a:pt x="34" y="131"/>
                    </a:lnTo>
                    <a:lnTo>
                      <a:pt x="31" y="130"/>
                    </a:lnTo>
                    <a:lnTo>
                      <a:pt x="30" y="127"/>
                    </a:lnTo>
                    <a:lnTo>
                      <a:pt x="30" y="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8" name="Rectangle 17"/>
            <p:cNvSpPr/>
            <p:nvPr/>
          </p:nvSpPr>
          <p:spPr>
            <a:xfrm>
              <a:off x="1408946" y="2417708"/>
              <a:ext cx="4962978" cy="13667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tx1"/>
                  </a:solidFill>
                </a:rPr>
                <a:t>1000+ </a:t>
              </a:r>
              <a:r>
                <a:rPr lang="en-US" sz="1600" dirty="0">
                  <a:solidFill>
                    <a:schemeClr val="tx1"/>
                  </a:solidFill>
                </a:rPr>
                <a:t>conferences every year  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31978" y="3866097"/>
            <a:ext cx="5477855" cy="1366610"/>
            <a:chOff x="893356" y="3220107"/>
            <a:chExt cx="5478568" cy="1366788"/>
          </a:xfrm>
        </p:grpSpPr>
        <p:grpSp>
          <p:nvGrpSpPr>
            <p:cNvPr id="24" name="Group 23"/>
            <p:cNvGrpSpPr>
              <a:grpSpLocks noChangeAspect="1"/>
            </p:cNvGrpSpPr>
            <p:nvPr/>
          </p:nvGrpSpPr>
          <p:grpSpPr>
            <a:xfrm>
              <a:off x="893356" y="3687501"/>
              <a:ext cx="432000" cy="432000"/>
              <a:chOff x="2316163" y="4175125"/>
              <a:chExt cx="522288" cy="522288"/>
            </a:xfrm>
          </p:grpSpPr>
          <p:sp>
            <p:nvSpPr>
              <p:cNvPr id="26" name="Freeform 38"/>
              <p:cNvSpPr>
                <a:spLocks noEditPoints="1"/>
              </p:cNvSpPr>
              <p:nvPr/>
            </p:nvSpPr>
            <p:spPr bwMode="auto">
              <a:xfrm>
                <a:off x="2316163" y="4175125"/>
                <a:ext cx="522288" cy="522288"/>
              </a:xfrm>
              <a:custGeom>
                <a:avLst/>
                <a:gdLst>
                  <a:gd name="T0" fmla="*/ 312 w 657"/>
                  <a:gd name="T1" fmla="*/ 657 h 657"/>
                  <a:gd name="T2" fmla="*/ 262 w 657"/>
                  <a:gd name="T3" fmla="*/ 650 h 657"/>
                  <a:gd name="T4" fmla="*/ 200 w 657"/>
                  <a:gd name="T5" fmla="*/ 632 h 657"/>
                  <a:gd name="T6" fmla="*/ 120 w 657"/>
                  <a:gd name="T7" fmla="*/ 582 h 657"/>
                  <a:gd name="T8" fmla="*/ 55 w 657"/>
                  <a:gd name="T9" fmla="*/ 512 h 657"/>
                  <a:gd name="T10" fmla="*/ 15 w 657"/>
                  <a:gd name="T11" fmla="*/ 426 h 657"/>
                  <a:gd name="T12" fmla="*/ 3 w 657"/>
                  <a:gd name="T13" fmla="*/ 379 h 657"/>
                  <a:gd name="T14" fmla="*/ 0 w 657"/>
                  <a:gd name="T15" fmla="*/ 329 h 657"/>
                  <a:gd name="T16" fmla="*/ 2 w 657"/>
                  <a:gd name="T17" fmla="*/ 296 h 657"/>
                  <a:gd name="T18" fmla="*/ 10 w 657"/>
                  <a:gd name="T19" fmla="*/ 246 h 657"/>
                  <a:gd name="T20" fmla="*/ 39 w 657"/>
                  <a:gd name="T21" fmla="*/ 172 h 657"/>
                  <a:gd name="T22" fmla="*/ 96 w 657"/>
                  <a:gd name="T23" fmla="*/ 97 h 657"/>
                  <a:gd name="T24" fmla="*/ 172 w 657"/>
                  <a:gd name="T25" fmla="*/ 39 h 657"/>
                  <a:gd name="T26" fmla="*/ 246 w 657"/>
                  <a:gd name="T27" fmla="*/ 10 h 657"/>
                  <a:gd name="T28" fmla="*/ 294 w 657"/>
                  <a:gd name="T29" fmla="*/ 2 h 657"/>
                  <a:gd name="T30" fmla="*/ 328 w 657"/>
                  <a:gd name="T31" fmla="*/ 0 h 657"/>
                  <a:gd name="T32" fmla="*/ 379 w 657"/>
                  <a:gd name="T33" fmla="*/ 4 h 657"/>
                  <a:gd name="T34" fmla="*/ 426 w 657"/>
                  <a:gd name="T35" fmla="*/ 15 h 657"/>
                  <a:gd name="T36" fmla="*/ 512 w 657"/>
                  <a:gd name="T37" fmla="*/ 57 h 657"/>
                  <a:gd name="T38" fmla="*/ 582 w 657"/>
                  <a:gd name="T39" fmla="*/ 120 h 657"/>
                  <a:gd name="T40" fmla="*/ 632 w 657"/>
                  <a:gd name="T41" fmla="*/ 200 h 657"/>
                  <a:gd name="T42" fmla="*/ 650 w 657"/>
                  <a:gd name="T43" fmla="*/ 262 h 657"/>
                  <a:gd name="T44" fmla="*/ 657 w 657"/>
                  <a:gd name="T45" fmla="*/ 312 h 657"/>
                  <a:gd name="T46" fmla="*/ 657 w 657"/>
                  <a:gd name="T47" fmla="*/ 346 h 657"/>
                  <a:gd name="T48" fmla="*/ 650 w 657"/>
                  <a:gd name="T49" fmla="*/ 395 h 657"/>
                  <a:gd name="T50" fmla="*/ 632 w 657"/>
                  <a:gd name="T51" fmla="*/ 457 h 657"/>
                  <a:gd name="T52" fmla="*/ 582 w 657"/>
                  <a:gd name="T53" fmla="*/ 538 h 657"/>
                  <a:gd name="T54" fmla="*/ 512 w 657"/>
                  <a:gd name="T55" fmla="*/ 601 h 657"/>
                  <a:gd name="T56" fmla="*/ 426 w 657"/>
                  <a:gd name="T57" fmla="*/ 642 h 657"/>
                  <a:gd name="T58" fmla="*/ 379 w 657"/>
                  <a:gd name="T59" fmla="*/ 653 h 657"/>
                  <a:gd name="T60" fmla="*/ 328 w 657"/>
                  <a:gd name="T61" fmla="*/ 657 h 657"/>
                  <a:gd name="T62" fmla="*/ 328 w 657"/>
                  <a:gd name="T63" fmla="*/ 38 h 657"/>
                  <a:gd name="T64" fmla="*/ 242 w 657"/>
                  <a:gd name="T65" fmla="*/ 51 h 657"/>
                  <a:gd name="T66" fmla="*/ 166 w 657"/>
                  <a:gd name="T67" fmla="*/ 88 h 657"/>
                  <a:gd name="T68" fmla="*/ 104 w 657"/>
                  <a:gd name="T69" fmla="*/ 144 h 657"/>
                  <a:gd name="T70" fmla="*/ 61 w 657"/>
                  <a:gd name="T71" fmla="*/ 215 h 657"/>
                  <a:gd name="T72" fmla="*/ 39 w 657"/>
                  <a:gd name="T73" fmla="*/ 298 h 657"/>
                  <a:gd name="T74" fmla="*/ 39 w 657"/>
                  <a:gd name="T75" fmla="*/ 359 h 657"/>
                  <a:gd name="T76" fmla="*/ 61 w 657"/>
                  <a:gd name="T77" fmla="*/ 442 h 657"/>
                  <a:gd name="T78" fmla="*/ 104 w 657"/>
                  <a:gd name="T79" fmla="*/ 513 h 657"/>
                  <a:gd name="T80" fmla="*/ 166 w 657"/>
                  <a:gd name="T81" fmla="*/ 570 h 657"/>
                  <a:gd name="T82" fmla="*/ 242 w 657"/>
                  <a:gd name="T83" fmla="*/ 607 h 657"/>
                  <a:gd name="T84" fmla="*/ 328 w 657"/>
                  <a:gd name="T85" fmla="*/ 620 h 657"/>
                  <a:gd name="T86" fmla="*/ 387 w 657"/>
                  <a:gd name="T87" fmla="*/ 614 h 657"/>
                  <a:gd name="T88" fmla="*/ 468 w 657"/>
                  <a:gd name="T89" fmla="*/ 585 h 657"/>
                  <a:gd name="T90" fmla="*/ 535 w 657"/>
                  <a:gd name="T91" fmla="*/ 535 h 657"/>
                  <a:gd name="T92" fmla="*/ 585 w 657"/>
                  <a:gd name="T93" fmla="*/ 468 h 657"/>
                  <a:gd name="T94" fmla="*/ 614 w 657"/>
                  <a:gd name="T95" fmla="*/ 387 h 657"/>
                  <a:gd name="T96" fmla="*/ 620 w 657"/>
                  <a:gd name="T97" fmla="*/ 329 h 657"/>
                  <a:gd name="T98" fmla="*/ 606 w 657"/>
                  <a:gd name="T99" fmla="*/ 242 h 657"/>
                  <a:gd name="T100" fmla="*/ 570 w 657"/>
                  <a:gd name="T101" fmla="*/ 166 h 657"/>
                  <a:gd name="T102" fmla="*/ 513 w 657"/>
                  <a:gd name="T103" fmla="*/ 104 h 657"/>
                  <a:gd name="T104" fmla="*/ 442 w 657"/>
                  <a:gd name="T105" fmla="*/ 61 h 657"/>
                  <a:gd name="T106" fmla="*/ 358 w 657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7">
                    <a:moveTo>
                      <a:pt x="328" y="657"/>
                    </a:moveTo>
                    <a:lnTo>
                      <a:pt x="328" y="657"/>
                    </a:lnTo>
                    <a:lnTo>
                      <a:pt x="312" y="657"/>
                    </a:lnTo>
                    <a:lnTo>
                      <a:pt x="294" y="656"/>
                    </a:lnTo>
                    <a:lnTo>
                      <a:pt x="278" y="653"/>
                    </a:lnTo>
                    <a:lnTo>
                      <a:pt x="262" y="650"/>
                    </a:lnTo>
                    <a:lnTo>
                      <a:pt x="246" y="648"/>
                    </a:lnTo>
                    <a:lnTo>
                      <a:pt x="231" y="642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1"/>
                    </a:lnTo>
                    <a:lnTo>
                      <a:pt x="120" y="582"/>
                    </a:lnTo>
                    <a:lnTo>
                      <a:pt x="96" y="562"/>
                    </a:lnTo>
                    <a:lnTo>
                      <a:pt x="76" y="538"/>
                    </a:lnTo>
                    <a:lnTo>
                      <a:pt x="55" y="512"/>
                    </a:lnTo>
                    <a:lnTo>
                      <a:pt x="39" y="485"/>
                    </a:lnTo>
                    <a:lnTo>
                      <a:pt x="26" y="457"/>
                    </a:lnTo>
                    <a:lnTo>
                      <a:pt x="15" y="426"/>
                    </a:lnTo>
                    <a:lnTo>
                      <a:pt x="10" y="411"/>
                    </a:lnTo>
                    <a:lnTo>
                      <a:pt x="7" y="395"/>
                    </a:lnTo>
                    <a:lnTo>
                      <a:pt x="3" y="379"/>
                    </a:lnTo>
                    <a:lnTo>
                      <a:pt x="2" y="362"/>
                    </a:lnTo>
                    <a:lnTo>
                      <a:pt x="0" y="346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3" y="278"/>
                    </a:lnTo>
                    <a:lnTo>
                      <a:pt x="7" y="262"/>
                    </a:lnTo>
                    <a:lnTo>
                      <a:pt x="10" y="246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5" y="145"/>
                    </a:lnTo>
                    <a:lnTo>
                      <a:pt x="76" y="120"/>
                    </a:lnTo>
                    <a:lnTo>
                      <a:pt x="96" y="97"/>
                    </a:lnTo>
                    <a:lnTo>
                      <a:pt x="120" y="76"/>
                    </a:lnTo>
                    <a:lnTo>
                      <a:pt x="145" y="57"/>
                    </a:lnTo>
                    <a:lnTo>
                      <a:pt x="172" y="39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6" y="10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2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46" y="0"/>
                    </a:lnTo>
                    <a:lnTo>
                      <a:pt x="362" y="2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0" y="10"/>
                    </a:lnTo>
                    <a:lnTo>
                      <a:pt x="426" y="15"/>
                    </a:lnTo>
                    <a:lnTo>
                      <a:pt x="457" y="26"/>
                    </a:lnTo>
                    <a:lnTo>
                      <a:pt x="485" y="39"/>
                    </a:lnTo>
                    <a:lnTo>
                      <a:pt x="512" y="57"/>
                    </a:lnTo>
                    <a:lnTo>
                      <a:pt x="538" y="76"/>
                    </a:lnTo>
                    <a:lnTo>
                      <a:pt x="560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2" y="200"/>
                    </a:lnTo>
                    <a:lnTo>
                      <a:pt x="642" y="231"/>
                    </a:lnTo>
                    <a:lnTo>
                      <a:pt x="646" y="246"/>
                    </a:lnTo>
                    <a:lnTo>
                      <a:pt x="650" y="262"/>
                    </a:lnTo>
                    <a:lnTo>
                      <a:pt x="653" y="278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6"/>
                    </a:lnTo>
                    <a:lnTo>
                      <a:pt x="656" y="362"/>
                    </a:lnTo>
                    <a:lnTo>
                      <a:pt x="653" y="379"/>
                    </a:lnTo>
                    <a:lnTo>
                      <a:pt x="650" y="395"/>
                    </a:lnTo>
                    <a:lnTo>
                      <a:pt x="646" y="411"/>
                    </a:lnTo>
                    <a:lnTo>
                      <a:pt x="642" y="426"/>
                    </a:lnTo>
                    <a:lnTo>
                      <a:pt x="632" y="457"/>
                    </a:lnTo>
                    <a:lnTo>
                      <a:pt x="618" y="485"/>
                    </a:lnTo>
                    <a:lnTo>
                      <a:pt x="601" y="512"/>
                    </a:lnTo>
                    <a:lnTo>
                      <a:pt x="582" y="538"/>
                    </a:lnTo>
                    <a:lnTo>
                      <a:pt x="560" y="562"/>
                    </a:lnTo>
                    <a:lnTo>
                      <a:pt x="538" y="582"/>
                    </a:lnTo>
                    <a:lnTo>
                      <a:pt x="512" y="601"/>
                    </a:lnTo>
                    <a:lnTo>
                      <a:pt x="485" y="618"/>
                    </a:lnTo>
                    <a:lnTo>
                      <a:pt x="457" y="632"/>
                    </a:lnTo>
                    <a:lnTo>
                      <a:pt x="426" y="642"/>
                    </a:lnTo>
                    <a:lnTo>
                      <a:pt x="410" y="648"/>
                    </a:lnTo>
                    <a:lnTo>
                      <a:pt x="395" y="650"/>
                    </a:lnTo>
                    <a:lnTo>
                      <a:pt x="379" y="653"/>
                    </a:lnTo>
                    <a:lnTo>
                      <a:pt x="362" y="656"/>
                    </a:lnTo>
                    <a:lnTo>
                      <a:pt x="346" y="657"/>
                    </a:lnTo>
                    <a:lnTo>
                      <a:pt x="328" y="657"/>
                    </a:lnTo>
                    <a:lnTo>
                      <a:pt x="328" y="657"/>
                    </a:lnTo>
                    <a:close/>
                    <a:moveTo>
                      <a:pt x="328" y="38"/>
                    </a:moveTo>
                    <a:lnTo>
                      <a:pt x="328" y="38"/>
                    </a:lnTo>
                    <a:lnTo>
                      <a:pt x="299" y="39"/>
                    </a:lnTo>
                    <a:lnTo>
                      <a:pt x="270" y="43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4"/>
                    </a:lnTo>
                    <a:lnTo>
                      <a:pt x="123" y="123"/>
                    </a:lnTo>
                    <a:lnTo>
                      <a:pt x="104" y="144"/>
                    </a:lnTo>
                    <a:lnTo>
                      <a:pt x="88" y="166"/>
                    </a:lnTo>
                    <a:lnTo>
                      <a:pt x="73" y="190"/>
                    </a:lnTo>
                    <a:lnTo>
                      <a:pt x="61" y="215"/>
                    </a:lnTo>
                    <a:lnTo>
                      <a:pt x="50" y="242"/>
                    </a:lnTo>
                    <a:lnTo>
                      <a:pt x="43" y="270"/>
                    </a:lnTo>
                    <a:lnTo>
                      <a:pt x="39" y="298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50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0"/>
                    </a:lnTo>
                    <a:lnTo>
                      <a:pt x="190" y="585"/>
                    </a:lnTo>
                    <a:lnTo>
                      <a:pt x="215" y="597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8"/>
                    </a:lnTo>
                    <a:lnTo>
                      <a:pt x="328" y="620"/>
                    </a:lnTo>
                    <a:lnTo>
                      <a:pt x="328" y="620"/>
                    </a:lnTo>
                    <a:lnTo>
                      <a:pt x="358" y="618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7"/>
                    </a:lnTo>
                    <a:lnTo>
                      <a:pt x="468" y="585"/>
                    </a:lnTo>
                    <a:lnTo>
                      <a:pt x="491" y="570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3"/>
                    </a:lnTo>
                    <a:lnTo>
                      <a:pt x="570" y="492"/>
                    </a:lnTo>
                    <a:lnTo>
                      <a:pt x="585" y="468"/>
                    </a:lnTo>
                    <a:lnTo>
                      <a:pt x="597" y="442"/>
                    </a:lnTo>
                    <a:lnTo>
                      <a:pt x="606" y="415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20" y="329"/>
                    </a:lnTo>
                    <a:lnTo>
                      <a:pt x="620" y="329"/>
                    </a:lnTo>
                    <a:lnTo>
                      <a:pt x="618" y="298"/>
                    </a:lnTo>
                    <a:lnTo>
                      <a:pt x="614" y="270"/>
                    </a:lnTo>
                    <a:lnTo>
                      <a:pt x="606" y="242"/>
                    </a:lnTo>
                    <a:lnTo>
                      <a:pt x="597" y="215"/>
                    </a:lnTo>
                    <a:lnTo>
                      <a:pt x="585" y="190"/>
                    </a:lnTo>
                    <a:lnTo>
                      <a:pt x="570" y="166"/>
                    </a:lnTo>
                    <a:lnTo>
                      <a:pt x="554" y="144"/>
                    </a:lnTo>
                    <a:lnTo>
                      <a:pt x="535" y="123"/>
                    </a:lnTo>
                    <a:lnTo>
                      <a:pt x="513" y="104"/>
                    </a:lnTo>
                    <a:lnTo>
                      <a:pt x="491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3"/>
                    </a:lnTo>
                    <a:lnTo>
                      <a:pt x="358" y="39"/>
                    </a:lnTo>
                    <a:lnTo>
                      <a:pt x="328" y="38"/>
                    </a:lnTo>
                    <a:lnTo>
                      <a:pt x="328" y="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161"/>
              <p:cNvSpPr>
                <a:spLocks/>
              </p:cNvSpPr>
              <p:nvPr/>
            </p:nvSpPr>
            <p:spPr bwMode="auto">
              <a:xfrm>
                <a:off x="2447926" y="4430713"/>
                <a:ext cx="33338" cy="14288"/>
              </a:xfrm>
              <a:custGeom>
                <a:avLst/>
                <a:gdLst>
                  <a:gd name="T0" fmla="*/ 32 w 42"/>
                  <a:gd name="T1" fmla="*/ 0 h 19"/>
                  <a:gd name="T2" fmla="*/ 9 w 42"/>
                  <a:gd name="T3" fmla="*/ 0 h 19"/>
                  <a:gd name="T4" fmla="*/ 9 w 42"/>
                  <a:gd name="T5" fmla="*/ 0 h 19"/>
                  <a:gd name="T6" fmla="*/ 7 w 42"/>
                  <a:gd name="T7" fmla="*/ 0 h 19"/>
                  <a:gd name="T8" fmla="*/ 3 w 42"/>
                  <a:gd name="T9" fmla="*/ 3 h 19"/>
                  <a:gd name="T10" fmla="*/ 1 w 42"/>
                  <a:gd name="T11" fmla="*/ 6 h 19"/>
                  <a:gd name="T12" fmla="*/ 0 w 42"/>
                  <a:gd name="T13" fmla="*/ 10 h 19"/>
                  <a:gd name="T14" fmla="*/ 0 w 42"/>
                  <a:gd name="T15" fmla="*/ 10 h 19"/>
                  <a:gd name="T16" fmla="*/ 1 w 42"/>
                  <a:gd name="T17" fmla="*/ 12 h 19"/>
                  <a:gd name="T18" fmla="*/ 3 w 42"/>
                  <a:gd name="T19" fmla="*/ 16 h 19"/>
                  <a:gd name="T20" fmla="*/ 7 w 42"/>
                  <a:gd name="T21" fmla="*/ 18 h 19"/>
                  <a:gd name="T22" fmla="*/ 9 w 42"/>
                  <a:gd name="T23" fmla="*/ 19 h 19"/>
                  <a:gd name="T24" fmla="*/ 32 w 42"/>
                  <a:gd name="T25" fmla="*/ 19 h 19"/>
                  <a:gd name="T26" fmla="*/ 32 w 42"/>
                  <a:gd name="T27" fmla="*/ 19 h 19"/>
                  <a:gd name="T28" fmla="*/ 35 w 42"/>
                  <a:gd name="T29" fmla="*/ 18 h 19"/>
                  <a:gd name="T30" fmla="*/ 39 w 42"/>
                  <a:gd name="T31" fmla="*/ 16 h 19"/>
                  <a:gd name="T32" fmla="*/ 40 w 42"/>
                  <a:gd name="T33" fmla="*/ 12 h 19"/>
                  <a:gd name="T34" fmla="*/ 42 w 42"/>
                  <a:gd name="T35" fmla="*/ 10 h 19"/>
                  <a:gd name="T36" fmla="*/ 42 w 42"/>
                  <a:gd name="T37" fmla="*/ 10 h 19"/>
                  <a:gd name="T38" fmla="*/ 40 w 42"/>
                  <a:gd name="T39" fmla="*/ 6 h 19"/>
                  <a:gd name="T40" fmla="*/ 39 w 42"/>
                  <a:gd name="T41" fmla="*/ 3 h 19"/>
                  <a:gd name="T42" fmla="*/ 35 w 42"/>
                  <a:gd name="T43" fmla="*/ 0 h 19"/>
                  <a:gd name="T44" fmla="*/ 32 w 42"/>
                  <a:gd name="T45" fmla="*/ 0 h 19"/>
                  <a:gd name="T46" fmla="*/ 32 w 42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" h="19">
                    <a:moveTo>
                      <a:pt x="32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7" y="18"/>
                    </a:lnTo>
                    <a:lnTo>
                      <a:pt x="9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5" y="18"/>
                    </a:lnTo>
                    <a:lnTo>
                      <a:pt x="39" y="16"/>
                    </a:lnTo>
                    <a:lnTo>
                      <a:pt x="40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6"/>
                    </a:lnTo>
                    <a:lnTo>
                      <a:pt x="39" y="3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162"/>
              <p:cNvSpPr>
                <a:spLocks/>
              </p:cNvSpPr>
              <p:nvPr/>
            </p:nvSpPr>
            <p:spPr bwMode="auto">
              <a:xfrm>
                <a:off x="2484438" y="4344988"/>
                <a:ext cx="26988" cy="26988"/>
              </a:xfrm>
              <a:custGeom>
                <a:avLst/>
                <a:gdLst>
                  <a:gd name="T0" fmla="*/ 32 w 35"/>
                  <a:gd name="T1" fmla="*/ 31 h 33"/>
                  <a:gd name="T2" fmla="*/ 32 w 35"/>
                  <a:gd name="T3" fmla="*/ 31 h 33"/>
                  <a:gd name="T4" fmla="*/ 34 w 35"/>
                  <a:gd name="T5" fmla="*/ 28 h 33"/>
                  <a:gd name="T6" fmla="*/ 35 w 35"/>
                  <a:gd name="T7" fmla="*/ 24 h 33"/>
                  <a:gd name="T8" fmla="*/ 35 w 35"/>
                  <a:gd name="T9" fmla="*/ 24 h 33"/>
                  <a:gd name="T10" fmla="*/ 34 w 35"/>
                  <a:gd name="T11" fmla="*/ 20 h 33"/>
                  <a:gd name="T12" fmla="*/ 32 w 35"/>
                  <a:gd name="T13" fmla="*/ 17 h 33"/>
                  <a:gd name="T14" fmla="*/ 16 w 35"/>
                  <a:gd name="T15" fmla="*/ 3 h 33"/>
                  <a:gd name="T16" fmla="*/ 16 w 35"/>
                  <a:gd name="T17" fmla="*/ 3 h 33"/>
                  <a:gd name="T18" fmla="*/ 14 w 35"/>
                  <a:gd name="T19" fmla="*/ 0 h 33"/>
                  <a:gd name="T20" fmla="*/ 11 w 35"/>
                  <a:gd name="T21" fmla="*/ 0 h 33"/>
                  <a:gd name="T22" fmla="*/ 7 w 35"/>
                  <a:gd name="T23" fmla="*/ 0 h 33"/>
                  <a:gd name="T24" fmla="*/ 4 w 35"/>
                  <a:gd name="T25" fmla="*/ 3 h 33"/>
                  <a:gd name="T26" fmla="*/ 4 w 35"/>
                  <a:gd name="T27" fmla="*/ 3 h 33"/>
                  <a:gd name="T28" fmla="*/ 2 w 35"/>
                  <a:gd name="T29" fmla="*/ 5 h 33"/>
                  <a:gd name="T30" fmla="*/ 0 w 35"/>
                  <a:gd name="T31" fmla="*/ 9 h 33"/>
                  <a:gd name="T32" fmla="*/ 2 w 35"/>
                  <a:gd name="T33" fmla="*/ 12 h 33"/>
                  <a:gd name="T34" fmla="*/ 4 w 35"/>
                  <a:gd name="T35" fmla="*/ 16 h 33"/>
                  <a:gd name="T36" fmla="*/ 19 w 35"/>
                  <a:gd name="T37" fmla="*/ 31 h 33"/>
                  <a:gd name="T38" fmla="*/ 19 w 35"/>
                  <a:gd name="T39" fmla="*/ 31 h 33"/>
                  <a:gd name="T40" fmla="*/ 19 w 35"/>
                  <a:gd name="T41" fmla="*/ 31 h 33"/>
                  <a:gd name="T42" fmla="*/ 22 w 35"/>
                  <a:gd name="T43" fmla="*/ 33 h 33"/>
                  <a:gd name="T44" fmla="*/ 26 w 35"/>
                  <a:gd name="T45" fmla="*/ 33 h 33"/>
                  <a:gd name="T46" fmla="*/ 26 w 35"/>
                  <a:gd name="T47" fmla="*/ 33 h 33"/>
                  <a:gd name="T48" fmla="*/ 30 w 35"/>
                  <a:gd name="T49" fmla="*/ 33 h 33"/>
                  <a:gd name="T50" fmla="*/ 32 w 35"/>
                  <a:gd name="T51" fmla="*/ 31 h 33"/>
                  <a:gd name="T52" fmla="*/ 32 w 35"/>
                  <a:gd name="T53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5" h="33">
                    <a:moveTo>
                      <a:pt x="32" y="31"/>
                    </a:moveTo>
                    <a:lnTo>
                      <a:pt x="32" y="31"/>
                    </a:lnTo>
                    <a:lnTo>
                      <a:pt x="34" y="28"/>
                    </a:lnTo>
                    <a:lnTo>
                      <a:pt x="35" y="24"/>
                    </a:lnTo>
                    <a:lnTo>
                      <a:pt x="35" y="24"/>
                    </a:lnTo>
                    <a:lnTo>
                      <a:pt x="34" y="20"/>
                    </a:lnTo>
                    <a:lnTo>
                      <a:pt x="32" y="1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2" y="33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31"/>
                    </a:lnTo>
                    <a:lnTo>
                      <a:pt x="3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163"/>
              <p:cNvSpPr>
                <a:spLocks/>
              </p:cNvSpPr>
              <p:nvPr/>
            </p:nvSpPr>
            <p:spPr bwMode="auto">
              <a:xfrm>
                <a:off x="2568576" y="4310063"/>
                <a:ext cx="15875" cy="31750"/>
              </a:xfrm>
              <a:custGeom>
                <a:avLst/>
                <a:gdLst>
                  <a:gd name="T0" fmla="*/ 9 w 18"/>
                  <a:gd name="T1" fmla="*/ 40 h 40"/>
                  <a:gd name="T2" fmla="*/ 9 w 18"/>
                  <a:gd name="T3" fmla="*/ 40 h 40"/>
                  <a:gd name="T4" fmla="*/ 13 w 18"/>
                  <a:gd name="T5" fmla="*/ 38 h 40"/>
                  <a:gd name="T6" fmla="*/ 16 w 18"/>
                  <a:gd name="T7" fmla="*/ 37 h 40"/>
                  <a:gd name="T8" fmla="*/ 18 w 18"/>
                  <a:gd name="T9" fmla="*/ 34 h 40"/>
                  <a:gd name="T10" fmla="*/ 18 w 18"/>
                  <a:gd name="T11" fmla="*/ 30 h 40"/>
                  <a:gd name="T12" fmla="*/ 18 w 18"/>
                  <a:gd name="T13" fmla="*/ 9 h 40"/>
                  <a:gd name="T14" fmla="*/ 18 w 18"/>
                  <a:gd name="T15" fmla="*/ 9 h 40"/>
                  <a:gd name="T16" fmla="*/ 18 w 18"/>
                  <a:gd name="T17" fmla="*/ 5 h 40"/>
                  <a:gd name="T18" fmla="*/ 16 w 18"/>
                  <a:gd name="T19" fmla="*/ 2 h 40"/>
                  <a:gd name="T20" fmla="*/ 13 w 18"/>
                  <a:gd name="T21" fmla="*/ 0 h 40"/>
                  <a:gd name="T22" fmla="*/ 9 w 18"/>
                  <a:gd name="T23" fmla="*/ 0 h 40"/>
                  <a:gd name="T24" fmla="*/ 9 w 18"/>
                  <a:gd name="T25" fmla="*/ 0 h 40"/>
                  <a:gd name="T26" fmla="*/ 6 w 18"/>
                  <a:gd name="T27" fmla="*/ 0 h 40"/>
                  <a:gd name="T28" fmla="*/ 2 w 18"/>
                  <a:gd name="T29" fmla="*/ 2 h 40"/>
                  <a:gd name="T30" fmla="*/ 1 w 18"/>
                  <a:gd name="T31" fmla="*/ 5 h 40"/>
                  <a:gd name="T32" fmla="*/ 0 w 18"/>
                  <a:gd name="T33" fmla="*/ 9 h 40"/>
                  <a:gd name="T34" fmla="*/ 0 w 18"/>
                  <a:gd name="T35" fmla="*/ 30 h 40"/>
                  <a:gd name="T36" fmla="*/ 0 w 18"/>
                  <a:gd name="T37" fmla="*/ 30 h 40"/>
                  <a:gd name="T38" fmla="*/ 1 w 18"/>
                  <a:gd name="T39" fmla="*/ 34 h 40"/>
                  <a:gd name="T40" fmla="*/ 2 w 18"/>
                  <a:gd name="T41" fmla="*/ 37 h 40"/>
                  <a:gd name="T42" fmla="*/ 6 w 18"/>
                  <a:gd name="T43" fmla="*/ 38 h 40"/>
                  <a:gd name="T44" fmla="*/ 9 w 18"/>
                  <a:gd name="T45" fmla="*/ 40 h 40"/>
                  <a:gd name="T46" fmla="*/ 9 w 18"/>
                  <a:gd name="T4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" h="40">
                    <a:moveTo>
                      <a:pt x="9" y="40"/>
                    </a:moveTo>
                    <a:lnTo>
                      <a:pt x="9" y="40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1" y="34"/>
                    </a:lnTo>
                    <a:lnTo>
                      <a:pt x="2" y="37"/>
                    </a:lnTo>
                    <a:lnTo>
                      <a:pt x="6" y="38"/>
                    </a:lnTo>
                    <a:lnTo>
                      <a:pt x="9" y="40"/>
                    </a:lnTo>
                    <a:lnTo>
                      <a:pt x="9" y="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164"/>
              <p:cNvSpPr>
                <a:spLocks/>
              </p:cNvSpPr>
              <p:nvPr/>
            </p:nvSpPr>
            <p:spPr bwMode="auto">
              <a:xfrm>
                <a:off x="2643188" y="4344988"/>
                <a:ext cx="25400" cy="26988"/>
              </a:xfrm>
              <a:custGeom>
                <a:avLst/>
                <a:gdLst>
                  <a:gd name="T0" fmla="*/ 18 w 34"/>
                  <a:gd name="T1" fmla="*/ 3 h 33"/>
                  <a:gd name="T2" fmla="*/ 3 w 34"/>
                  <a:gd name="T3" fmla="*/ 17 h 33"/>
                  <a:gd name="T4" fmla="*/ 3 w 34"/>
                  <a:gd name="T5" fmla="*/ 17 h 33"/>
                  <a:gd name="T6" fmla="*/ 0 w 34"/>
                  <a:gd name="T7" fmla="*/ 20 h 33"/>
                  <a:gd name="T8" fmla="*/ 0 w 34"/>
                  <a:gd name="T9" fmla="*/ 24 h 33"/>
                  <a:gd name="T10" fmla="*/ 0 w 34"/>
                  <a:gd name="T11" fmla="*/ 24 h 33"/>
                  <a:gd name="T12" fmla="*/ 0 w 34"/>
                  <a:gd name="T13" fmla="*/ 28 h 33"/>
                  <a:gd name="T14" fmla="*/ 3 w 34"/>
                  <a:gd name="T15" fmla="*/ 31 h 33"/>
                  <a:gd name="T16" fmla="*/ 3 w 34"/>
                  <a:gd name="T17" fmla="*/ 31 h 33"/>
                  <a:gd name="T18" fmla="*/ 6 w 34"/>
                  <a:gd name="T19" fmla="*/ 33 h 33"/>
                  <a:gd name="T20" fmla="*/ 10 w 34"/>
                  <a:gd name="T21" fmla="*/ 33 h 33"/>
                  <a:gd name="T22" fmla="*/ 10 w 34"/>
                  <a:gd name="T23" fmla="*/ 33 h 33"/>
                  <a:gd name="T24" fmla="*/ 12 w 34"/>
                  <a:gd name="T25" fmla="*/ 33 h 33"/>
                  <a:gd name="T26" fmla="*/ 16 w 34"/>
                  <a:gd name="T27" fmla="*/ 31 h 33"/>
                  <a:gd name="T28" fmla="*/ 31 w 34"/>
                  <a:gd name="T29" fmla="*/ 16 h 33"/>
                  <a:gd name="T30" fmla="*/ 31 w 34"/>
                  <a:gd name="T31" fmla="*/ 16 h 33"/>
                  <a:gd name="T32" fmla="*/ 34 w 34"/>
                  <a:gd name="T33" fmla="*/ 12 h 33"/>
                  <a:gd name="T34" fmla="*/ 34 w 34"/>
                  <a:gd name="T35" fmla="*/ 9 h 33"/>
                  <a:gd name="T36" fmla="*/ 34 w 34"/>
                  <a:gd name="T37" fmla="*/ 5 h 33"/>
                  <a:gd name="T38" fmla="*/ 31 w 34"/>
                  <a:gd name="T39" fmla="*/ 3 h 33"/>
                  <a:gd name="T40" fmla="*/ 31 w 34"/>
                  <a:gd name="T41" fmla="*/ 3 h 33"/>
                  <a:gd name="T42" fmla="*/ 29 w 34"/>
                  <a:gd name="T43" fmla="*/ 0 h 33"/>
                  <a:gd name="T44" fmla="*/ 25 w 34"/>
                  <a:gd name="T45" fmla="*/ 0 h 33"/>
                  <a:gd name="T46" fmla="*/ 22 w 34"/>
                  <a:gd name="T47" fmla="*/ 0 h 33"/>
                  <a:gd name="T48" fmla="*/ 18 w 34"/>
                  <a:gd name="T49" fmla="*/ 3 h 33"/>
                  <a:gd name="T50" fmla="*/ 18 w 34"/>
                  <a:gd name="T51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4" h="33">
                    <a:moveTo>
                      <a:pt x="18" y="3"/>
                    </a:moveTo>
                    <a:lnTo>
                      <a:pt x="3" y="17"/>
                    </a:lnTo>
                    <a:lnTo>
                      <a:pt x="3" y="17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6" y="33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6" y="31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4" y="12"/>
                    </a:lnTo>
                    <a:lnTo>
                      <a:pt x="34" y="9"/>
                    </a:lnTo>
                    <a:lnTo>
                      <a:pt x="34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165"/>
              <p:cNvSpPr>
                <a:spLocks/>
              </p:cNvSpPr>
              <p:nvPr/>
            </p:nvSpPr>
            <p:spPr bwMode="auto">
              <a:xfrm>
                <a:off x="2671763" y="4430713"/>
                <a:ext cx="33338" cy="14288"/>
              </a:xfrm>
              <a:custGeom>
                <a:avLst/>
                <a:gdLst>
                  <a:gd name="T0" fmla="*/ 31 w 40"/>
                  <a:gd name="T1" fmla="*/ 0 h 19"/>
                  <a:gd name="T2" fmla="*/ 9 w 40"/>
                  <a:gd name="T3" fmla="*/ 0 h 19"/>
                  <a:gd name="T4" fmla="*/ 9 w 40"/>
                  <a:gd name="T5" fmla="*/ 0 h 19"/>
                  <a:gd name="T6" fmla="*/ 5 w 40"/>
                  <a:gd name="T7" fmla="*/ 0 h 19"/>
                  <a:gd name="T8" fmla="*/ 3 w 40"/>
                  <a:gd name="T9" fmla="*/ 3 h 19"/>
                  <a:gd name="T10" fmla="*/ 1 w 40"/>
                  <a:gd name="T11" fmla="*/ 6 h 19"/>
                  <a:gd name="T12" fmla="*/ 0 w 40"/>
                  <a:gd name="T13" fmla="*/ 10 h 19"/>
                  <a:gd name="T14" fmla="*/ 0 w 40"/>
                  <a:gd name="T15" fmla="*/ 10 h 19"/>
                  <a:gd name="T16" fmla="*/ 1 w 40"/>
                  <a:gd name="T17" fmla="*/ 12 h 19"/>
                  <a:gd name="T18" fmla="*/ 3 w 40"/>
                  <a:gd name="T19" fmla="*/ 16 h 19"/>
                  <a:gd name="T20" fmla="*/ 5 w 40"/>
                  <a:gd name="T21" fmla="*/ 18 h 19"/>
                  <a:gd name="T22" fmla="*/ 9 w 40"/>
                  <a:gd name="T23" fmla="*/ 19 h 19"/>
                  <a:gd name="T24" fmla="*/ 31 w 40"/>
                  <a:gd name="T25" fmla="*/ 19 h 19"/>
                  <a:gd name="T26" fmla="*/ 31 w 40"/>
                  <a:gd name="T27" fmla="*/ 19 h 19"/>
                  <a:gd name="T28" fmla="*/ 35 w 40"/>
                  <a:gd name="T29" fmla="*/ 18 h 19"/>
                  <a:gd name="T30" fmla="*/ 38 w 40"/>
                  <a:gd name="T31" fmla="*/ 16 h 19"/>
                  <a:gd name="T32" fmla="*/ 40 w 40"/>
                  <a:gd name="T33" fmla="*/ 12 h 19"/>
                  <a:gd name="T34" fmla="*/ 40 w 40"/>
                  <a:gd name="T35" fmla="*/ 10 h 19"/>
                  <a:gd name="T36" fmla="*/ 40 w 40"/>
                  <a:gd name="T37" fmla="*/ 10 h 19"/>
                  <a:gd name="T38" fmla="*/ 40 w 40"/>
                  <a:gd name="T39" fmla="*/ 6 h 19"/>
                  <a:gd name="T40" fmla="*/ 38 w 40"/>
                  <a:gd name="T41" fmla="*/ 3 h 19"/>
                  <a:gd name="T42" fmla="*/ 35 w 40"/>
                  <a:gd name="T43" fmla="*/ 0 h 19"/>
                  <a:gd name="T44" fmla="*/ 31 w 40"/>
                  <a:gd name="T45" fmla="*/ 0 h 19"/>
                  <a:gd name="T46" fmla="*/ 31 w 40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19">
                    <a:moveTo>
                      <a:pt x="31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9" y="19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5" y="18"/>
                    </a:lnTo>
                    <a:lnTo>
                      <a:pt x="38" y="16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8" y="3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166"/>
              <p:cNvSpPr>
                <a:spLocks/>
              </p:cNvSpPr>
              <p:nvPr/>
            </p:nvSpPr>
            <p:spPr bwMode="auto">
              <a:xfrm>
                <a:off x="2503488" y="4364038"/>
                <a:ext cx="146050" cy="153988"/>
              </a:xfrm>
              <a:custGeom>
                <a:avLst/>
                <a:gdLst>
                  <a:gd name="T0" fmla="*/ 91 w 184"/>
                  <a:gd name="T1" fmla="*/ 0 h 195"/>
                  <a:gd name="T2" fmla="*/ 74 w 184"/>
                  <a:gd name="T3" fmla="*/ 1 h 195"/>
                  <a:gd name="T4" fmla="*/ 56 w 184"/>
                  <a:gd name="T5" fmla="*/ 7 h 195"/>
                  <a:gd name="T6" fmla="*/ 40 w 184"/>
                  <a:gd name="T7" fmla="*/ 16 h 195"/>
                  <a:gd name="T8" fmla="*/ 27 w 184"/>
                  <a:gd name="T9" fmla="*/ 27 h 195"/>
                  <a:gd name="T10" fmla="*/ 16 w 184"/>
                  <a:gd name="T11" fmla="*/ 40 h 195"/>
                  <a:gd name="T12" fmla="*/ 6 w 184"/>
                  <a:gd name="T13" fmla="*/ 56 h 195"/>
                  <a:gd name="T14" fmla="*/ 1 w 184"/>
                  <a:gd name="T15" fmla="*/ 74 h 195"/>
                  <a:gd name="T16" fmla="*/ 0 w 184"/>
                  <a:gd name="T17" fmla="*/ 93 h 195"/>
                  <a:gd name="T18" fmla="*/ 1 w 184"/>
                  <a:gd name="T19" fmla="*/ 106 h 195"/>
                  <a:gd name="T20" fmla="*/ 8 w 184"/>
                  <a:gd name="T21" fmla="*/ 130 h 195"/>
                  <a:gd name="T22" fmla="*/ 23 w 184"/>
                  <a:gd name="T23" fmla="*/ 152 h 195"/>
                  <a:gd name="T24" fmla="*/ 41 w 184"/>
                  <a:gd name="T25" fmla="*/ 169 h 195"/>
                  <a:gd name="T26" fmla="*/ 53 w 184"/>
                  <a:gd name="T27" fmla="*/ 189 h 195"/>
                  <a:gd name="T28" fmla="*/ 53 w 184"/>
                  <a:gd name="T29" fmla="*/ 192 h 195"/>
                  <a:gd name="T30" fmla="*/ 57 w 184"/>
                  <a:gd name="T31" fmla="*/ 195 h 195"/>
                  <a:gd name="T32" fmla="*/ 125 w 184"/>
                  <a:gd name="T33" fmla="*/ 195 h 195"/>
                  <a:gd name="T34" fmla="*/ 126 w 184"/>
                  <a:gd name="T35" fmla="*/ 195 h 195"/>
                  <a:gd name="T36" fmla="*/ 129 w 184"/>
                  <a:gd name="T37" fmla="*/ 192 h 195"/>
                  <a:gd name="T38" fmla="*/ 130 w 184"/>
                  <a:gd name="T39" fmla="*/ 176 h 195"/>
                  <a:gd name="T40" fmla="*/ 141 w 184"/>
                  <a:gd name="T41" fmla="*/ 169 h 195"/>
                  <a:gd name="T42" fmla="*/ 161 w 184"/>
                  <a:gd name="T43" fmla="*/ 152 h 195"/>
                  <a:gd name="T44" fmla="*/ 176 w 184"/>
                  <a:gd name="T45" fmla="*/ 130 h 195"/>
                  <a:gd name="T46" fmla="*/ 182 w 184"/>
                  <a:gd name="T47" fmla="*/ 106 h 195"/>
                  <a:gd name="T48" fmla="*/ 184 w 184"/>
                  <a:gd name="T49" fmla="*/ 93 h 195"/>
                  <a:gd name="T50" fmla="*/ 181 w 184"/>
                  <a:gd name="T51" fmla="*/ 74 h 195"/>
                  <a:gd name="T52" fmla="*/ 176 w 184"/>
                  <a:gd name="T53" fmla="*/ 56 h 195"/>
                  <a:gd name="T54" fmla="*/ 168 w 184"/>
                  <a:gd name="T55" fmla="*/ 40 h 195"/>
                  <a:gd name="T56" fmla="*/ 157 w 184"/>
                  <a:gd name="T57" fmla="*/ 27 h 195"/>
                  <a:gd name="T58" fmla="*/ 143 w 184"/>
                  <a:gd name="T59" fmla="*/ 16 h 195"/>
                  <a:gd name="T60" fmla="*/ 127 w 184"/>
                  <a:gd name="T61" fmla="*/ 7 h 195"/>
                  <a:gd name="T62" fmla="*/ 110 w 184"/>
                  <a:gd name="T63" fmla="*/ 1 h 195"/>
                  <a:gd name="T64" fmla="*/ 91 w 184"/>
                  <a:gd name="T65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4" h="195">
                    <a:moveTo>
                      <a:pt x="91" y="0"/>
                    </a:moveTo>
                    <a:lnTo>
                      <a:pt x="91" y="0"/>
                    </a:lnTo>
                    <a:lnTo>
                      <a:pt x="82" y="0"/>
                    </a:lnTo>
                    <a:lnTo>
                      <a:pt x="74" y="1"/>
                    </a:lnTo>
                    <a:lnTo>
                      <a:pt x="64" y="4"/>
                    </a:lnTo>
                    <a:lnTo>
                      <a:pt x="56" y="7"/>
                    </a:lnTo>
                    <a:lnTo>
                      <a:pt x="48" y="11"/>
                    </a:lnTo>
                    <a:lnTo>
                      <a:pt x="40" y="16"/>
                    </a:lnTo>
                    <a:lnTo>
                      <a:pt x="33" y="22"/>
                    </a:lnTo>
                    <a:lnTo>
                      <a:pt x="27" y="27"/>
                    </a:lnTo>
                    <a:lnTo>
                      <a:pt x="20" y="34"/>
                    </a:lnTo>
                    <a:lnTo>
                      <a:pt x="16" y="40"/>
                    </a:lnTo>
                    <a:lnTo>
                      <a:pt x="10" y="48"/>
                    </a:lnTo>
                    <a:lnTo>
                      <a:pt x="6" y="56"/>
                    </a:lnTo>
                    <a:lnTo>
                      <a:pt x="4" y="65"/>
                    </a:lnTo>
                    <a:lnTo>
                      <a:pt x="1" y="74"/>
                    </a:lnTo>
                    <a:lnTo>
                      <a:pt x="0" y="83"/>
                    </a:lnTo>
                    <a:lnTo>
                      <a:pt x="0" y="93"/>
                    </a:lnTo>
                    <a:lnTo>
                      <a:pt x="0" y="93"/>
                    </a:lnTo>
                    <a:lnTo>
                      <a:pt x="1" y="106"/>
                    </a:lnTo>
                    <a:lnTo>
                      <a:pt x="4" y="118"/>
                    </a:lnTo>
                    <a:lnTo>
                      <a:pt x="8" y="130"/>
                    </a:lnTo>
                    <a:lnTo>
                      <a:pt x="15" y="142"/>
                    </a:lnTo>
                    <a:lnTo>
                      <a:pt x="23" y="152"/>
                    </a:lnTo>
                    <a:lnTo>
                      <a:pt x="31" y="161"/>
                    </a:lnTo>
                    <a:lnTo>
                      <a:pt x="41" y="169"/>
                    </a:lnTo>
                    <a:lnTo>
                      <a:pt x="53" y="176"/>
                    </a:lnTo>
                    <a:lnTo>
                      <a:pt x="53" y="189"/>
                    </a:lnTo>
                    <a:lnTo>
                      <a:pt x="53" y="189"/>
                    </a:lnTo>
                    <a:lnTo>
                      <a:pt x="53" y="192"/>
                    </a:lnTo>
                    <a:lnTo>
                      <a:pt x="55" y="193"/>
                    </a:lnTo>
                    <a:lnTo>
                      <a:pt x="57" y="195"/>
                    </a:lnTo>
                    <a:lnTo>
                      <a:pt x="59" y="195"/>
                    </a:lnTo>
                    <a:lnTo>
                      <a:pt x="125" y="195"/>
                    </a:lnTo>
                    <a:lnTo>
                      <a:pt x="125" y="195"/>
                    </a:lnTo>
                    <a:lnTo>
                      <a:pt x="126" y="195"/>
                    </a:lnTo>
                    <a:lnTo>
                      <a:pt x="127" y="193"/>
                    </a:lnTo>
                    <a:lnTo>
                      <a:pt x="129" y="192"/>
                    </a:lnTo>
                    <a:lnTo>
                      <a:pt x="130" y="189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41" y="169"/>
                    </a:lnTo>
                    <a:lnTo>
                      <a:pt x="152" y="161"/>
                    </a:lnTo>
                    <a:lnTo>
                      <a:pt x="161" y="152"/>
                    </a:lnTo>
                    <a:lnTo>
                      <a:pt x="169" y="142"/>
                    </a:lnTo>
                    <a:lnTo>
                      <a:pt x="176" y="130"/>
                    </a:lnTo>
                    <a:lnTo>
                      <a:pt x="180" y="118"/>
                    </a:lnTo>
                    <a:lnTo>
                      <a:pt x="182" y="106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84" y="83"/>
                    </a:lnTo>
                    <a:lnTo>
                      <a:pt x="181" y="74"/>
                    </a:lnTo>
                    <a:lnTo>
                      <a:pt x="180" y="65"/>
                    </a:lnTo>
                    <a:lnTo>
                      <a:pt x="176" y="56"/>
                    </a:lnTo>
                    <a:lnTo>
                      <a:pt x="173" y="48"/>
                    </a:lnTo>
                    <a:lnTo>
                      <a:pt x="168" y="40"/>
                    </a:lnTo>
                    <a:lnTo>
                      <a:pt x="162" y="34"/>
                    </a:lnTo>
                    <a:lnTo>
                      <a:pt x="157" y="27"/>
                    </a:lnTo>
                    <a:lnTo>
                      <a:pt x="150" y="22"/>
                    </a:lnTo>
                    <a:lnTo>
                      <a:pt x="143" y="16"/>
                    </a:lnTo>
                    <a:lnTo>
                      <a:pt x="135" y="11"/>
                    </a:lnTo>
                    <a:lnTo>
                      <a:pt x="127" y="7"/>
                    </a:lnTo>
                    <a:lnTo>
                      <a:pt x="119" y="4"/>
                    </a:lnTo>
                    <a:lnTo>
                      <a:pt x="110" y="1"/>
                    </a:lnTo>
                    <a:lnTo>
                      <a:pt x="100" y="0"/>
                    </a:lnTo>
                    <a:lnTo>
                      <a:pt x="91" y="0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67"/>
              <p:cNvSpPr>
                <a:spLocks/>
              </p:cNvSpPr>
              <p:nvPr/>
            </p:nvSpPr>
            <p:spPr bwMode="auto">
              <a:xfrm>
                <a:off x="2546351" y="4533900"/>
                <a:ext cx="61913" cy="9525"/>
              </a:xfrm>
              <a:custGeom>
                <a:avLst/>
                <a:gdLst>
                  <a:gd name="T0" fmla="*/ 72 w 77"/>
                  <a:gd name="T1" fmla="*/ 0 h 11"/>
                  <a:gd name="T2" fmla="*/ 6 w 77"/>
                  <a:gd name="T3" fmla="*/ 0 h 11"/>
                  <a:gd name="T4" fmla="*/ 6 w 77"/>
                  <a:gd name="T5" fmla="*/ 0 h 11"/>
                  <a:gd name="T6" fmla="*/ 4 w 77"/>
                  <a:gd name="T7" fmla="*/ 0 h 11"/>
                  <a:gd name="T8" fmla="*/ 2 w 77"/>
                  <a:gd name="T9" fmla="*/ 1 h 11"/>
                  <a:gd name="T10" fmla="*/ 0 w 77"/>
                  <a:gd name="T11" fmla="*/ 3 h 11"/>
                  <a:gd name="T12" fmla="*/ 0 w 77"/>
                  <a:gd name="T13" fmla="*/ 5 h 11"/>
                  <a:gd name="T14" fmla="*/ 0 w 77"/>
                  <a:gd name="T15" fmla="*/ 5 h 11"/>
                  <a:gd name="T16" fmla="*/ 0 w 77"/>
                  <a:gd name="T17" fmla="*/ 7 h 11"/>
                  <a:gd name="T18" fmla="*/ 2 w 77"/>
                  <a:gd name="T19" fmla="*/ 9 h 11"/>
                  <a:gd name="T20" fmla="*/ 4 w 77"/>
                  <a:gd name="T21" fmla="*/ 11 h 11"/>
                  <a:gd name="T22" fmla="*/ 6 w 77"/>
                  <a:gd name="T23" fmla="*/ 11 h 11"/>
                  <a:gd name="T24" fmla="*/ 72 w 77"/>
                  <a:gd name="T25" fmla="*/ 11 h 11"/>
                  <a:gd name="T26" fmla="*/ 72 w 77"/>
                  <a:gd name="T27" fmla="*/ 11 h 11"/>
                  <a:gd name="T28" fmla="*/ 73 w 77"/>
                  <a:gd name="T29" fmla="*/ 11 h 11"/>
                  <a:gd name="T30" fmla="*/ 74 w 77"/>
                  <a:gd name="T31" fmla="*/ 9 h 11"/>
                  <a:gd name="T32" fmla="*/ 76 w 77"/>
                  <a:gd name="T33" fmla="*/ 7 h 11"/>
                  <a:gd name="T34" fmla="*/ 77 w 77"/>
                  <a:gd name="T35" fmla="*/ 5 h 11"/>
                  <a:gd name="T36" fmla="*/ 77 w 77"/>
                  <a:gd name="T37" fmla="*/ 5 h 11"/>
                  <a:gd name="T38" fmla="*/ 76 w 77"/>
                  <a:gd name="T39" fmla="*/ 3 h 11"/>
                  <a:gd name="T40" fmla="*/ 74 w 77"/>
                  <a:gd name="T41" fmla="*/ 1 h 11"/>
                  <a:gd name="T42" fmla="*/ 73 w 77"/>
                  <a:gd name="T43" fmla="*/ 0 h 11"/>
                  <a:gd name="T44" fmla="*/ 72 w 77"/>
                  <a:gd name="T45" fmla="*/ 0 h 11"/>
                  <a:gd name="T46" fmla="*/ 72 w 77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7" h="11">
                    <a:moveTo>
                      <a:pt x="72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11"/>
                    </a:lnTo>
                    <a:lnTo>
                      <a:pt x="72" y="11"/>
                    </a:lnTo>
                    <a:lnTo>
                      <a:pt x="72" y="11"/>
                    </a:lnTo>
                    <a:lnTo>
                      <a:pt x="73" y="11"/>
                    </a:lnTo>
                    <a:lnTo>
                      <a:pt x="74" y="9"/>
                    </a:lnTo>
                    <a:lnTo>
                      <a:pt x="76" y="7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6" y="3"/>
                    </a:lnTo>
                    <a:lnTo>
                      <a:pt x="74" y="1"/>
                    </a:lnTo>
                    <a:lnTo>
                      <a:pt x="73" y="0"/>
                    </a:lnTo>
                    <a:lnTo>
                      <a:pt x="72" y="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168"/>
              <p:cNvSpPr>
                <a:spLocks/>
              </p:cNvSpPr>
              <p:nvPr/>
            </p:nvSpPr>
            <p:spPr bwMode="auto">
              <a:xfrm>
                <a:off x="2563813" y="4554538"/>
                <a:ext cx="25400" cy="7938"/>
              </a:xfrm>
              <a:custGeom>
                <a:avLst/>
                <a:gdLst>
                  <a:gd name="T0" fmla="*/ 27 w 32"/>
                  <a:gd name="T1" fmla="*/ 0 h 11"/>
                  <a:gd name="T2" fmla="*/ 5 w 32"/>
                  <a:gd name="T3" fmla="*/ 0 h 11"/>
                  <a:gd name="T4" fmla="*/ 5 w 32"/>
                  <a:gd name="T5" fmla="*/ 0 h 11"/>
                  <a:gd name="T6" fmla="*/ 4 w 32"/>
                  <a:gd name="T7" fmla="*/ 1 h 11"/>
                  <a:gd name="T8" fmla="*/ 1 w 32"/>
                  <a:gd name="T9" fmla="*/ 3 h 11"/>
                  <a:gd name="T10" fmla="*/ 1 w 32"/>
                  <a:gd name="T11" fmla="*/ 4 h 11"/>
                  <a:gd name="T12" fmla="*/ 0 w 32"/>
                  <a:gd name="T13" fmla="*/ 6 h 11"/>
                  <a:gd name="T14" fmla="*/ 0 w 32"/>
                  <a:gd name="T15" fmla="*/ 6 h 11"/>
                  <a:gd name="T16" fmla="*/ 1 w 32"/>
                  <a:gd name="T17" fmla="*/ 8 h 11"/>
                  <a:gd name="T18" fmla="*/ 1 w 32"/>
                  <a:gd name="T19" fmla="*/ 10 h 11"/>
                  <a:gd name="T20" fmla="*/ 4 w 32"/>
                  <a:gd name="T21" fmla="*/ 11 h 11"/>
                  <a:gd name="T22" fmla="*/ 5 w 32"/>
                  <a:gd name="T23" fmla="*/ 11 h 11"/>
                  <a:gd name="T24" fmla="*/ 27 w 32"/>
                  <a:gd name="T25" fmla="*/ 11 h 11"/>
                  <a:gd name="T26" fmla="*/ 27 w 32"/>
                  <a:gd name="T27" fmla="*/ 11 h 11"/>
                  <a:gd name="T28" fmla="*/ 29 w 32"/>
                  <a:gd name="T29" fmla="*/ 11 h 11"/>
                  <a:gd name="T30" fmla="*/ 31 w 32"/>
                  <a:gd name="T31" fmla="*/ 10 h 11"/>
                  <a:gd name="T32" fmla="*/ 32 w 32"/>
                  <a:gd name="T33" fmla="*/ 8 h 11"/>
                  <a:gd name="T34" fmla="*/ 32 w 32"/>
                  <a:gd name="T35" fmla="*/ 6 h 11"/>
                  <a:gd name="T36" fmla="*/ 32 w 32"/>
                  <a:gd name="T37" fmla="*/ 6 h 11"/>
                  <a:gd name="T38" fmla="*/ 32 w 32"/>
                  <a:gd name="T39" fmla="*/ 4 h 11"/>
                  <a:gd name="T40" fmla="*/ 31 w 32"/>
                  <a:gd name="T41" fmla="*/ 3 h 11"/>
                  <a:gd name="T42" fmla="*/ 29 w 32"/>
                  <a:gd name="T43" fmla="*/ 1 h 11"/>
                  <a:gd name="T44" fmla="*/ 27 w 32"/>
                  <a:gd name="T45" fmla="*/ 0 h 11"/>
                  <a:gd name="T46" fmla="*/ 27 w 32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2" h="11">
                    <a:moveTo>
                      <a:pt x="27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31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1" y="3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5" name="Rectangle 24"/>
            <p:cNvSpPr/>
            <p:nvPr/>
          </p:nvSpPr>
          <p:spPr>
            <a:xfrm>
              <a:off x="1408946" y="3220107"/>
              <a:ext cx="4962978" cy="13667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tx1"/>
                  </a:solidFill>
                </a:rPr>
                <a:t>60+ mins </a:t>
              </a:r>
              <a:r>
                <a:rPr lang="en-US" sz="1600" dirty="0">
                  <a:solidFill>
                    <a:schemeClr val="tx1"/>
                  </a:solidFill>
                </a:rPr>
                <a:t>for </a:t>
              </a:r>
              <a:r>
                <a:rPr lang="en-US" sz="1600" b="1" dirty="0">
                  <a:solidFill>
                    <a:schemeClr val="tx1"/>
                  </a:solidFill>
                </a:rPr>
                <a:t>each</a:t>
              </a:r>
              <a:r>
                <a:rPr lang="en-US" sz="1600" dirty="0">
                  <a:solidFill>
                    <a:schemeClr val="tx1"/>
                  </a:solidFill>
                </a:rPr>
                <a:t> file to be checked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931914" y="4812580"/>
            <a:ext cx="5477919" cy="1366610"/>
            <a:chOff x="893292" y="4030103"/>
            <a:chExt cx="5478632" cy="1366788"/>
          </a:xfrm>
        </p:grpSpPr>
        <p:sp>
          <p:nvSpPr>
            <p:cNvPr id="36" name="Rectangle 35"/>
            <p:cNvSpPr/>
            <p:nvPr/>
          </p:nvSpPr>
          <p:spPr>
            <a:xfrm>
              <a:off x="1408946" y="4030103"/>
              <a:ext cx="4962978" cy="13667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tx1"/>
                  </a:solidFill>
                </a:rPr>
                <a:t>6</a:t>
              </a:r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r>
                <a:rPr lang="en-US" altLang="zh-CN" sz="1600" dirty="0">
                  <a:solidFill>
                    <a:schemeClr val="tx1"/>
                  </a:solidFill>
                </a:rPr>
                <a:t>personnels involved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37" name="Group 36"/>
            <p:cNvGrpSpPr>
              <a:grpSpLocks noChangeAspect="1"/>
            </p:cNvGrpSpPr>
            <p:nvPr/>
          </p:nvGrpSpPr>
          <p:grpSpPr>
            <a:xfrm>
              <a:off x="893292" y="4497480"/>
              <a:ext cx="430682" cy="431995"/>
              <a:chOff x="6727826" y="1674813"/>
              <a:chExt cx="520700" cy="522288"/>
            </a:xfrm>
          </p:grpSpPr>
          <p:sp>
            <p:nvSpPr>
              <p:cNvPr id="38" name="Freeform 13"/>
              <p:cNvSpPr>
                <a:spLocks noEditPoints="1"/>
              </p:cNvSpPr>
              <p:nvPr/>
            </p:nvSpPr>
            <p:spPr bwMode="auto">
              <a:xfrm>
                <a:off x="6727826" y="1674813"/>
                <a:ext cx="520700" cy="522288"/>
              </a:xfrm>
              <a:custGeom>
                <a:avLst/>
                <a:gdLst>
                  <a:gd name="T0" fmla="*/ 312 w 657"/>
                  <a:gd name="T1" fmla="*/ 657 h 658"/>
                  <a:gd name="T2" fmla="*/ 262 w 657"/>
                  <a:gd name="T3" fmla="*/ 651 h 658"/>
                  <a:gd name="T4" fmla="*/ 200 w 657"/>
                  <a:gd name="T5" fmla="*/ 631 h 658"/>
                  <a:gd name="T6" fmla="*/ 120 w 657"/>
                  <a:gd name="T7" fmla="*/ 583 h 658"/>
                  <a:gd name="T8" fmla="*/ 57 w 657"/>
                  <a:gd name="T9" fmla="*/ 513 h 658"/>
                  <a:gd name="T10" fmla="*/ 15 w 657"/>
                  <a:gd name="T11" fmla="*/ 426 h 658"/>
                  <a:gd name="T12" fmla="*/ 4 w 657"/>
                  <a:gd name="T13" fmla="*/ 379 h 658"/>
                  <a:gd name="T14" fmla="*/ 0 w 657"/>
                  <a:gd name="T15" fmla="*/ 329 h 658"/>
                  <a:gd name="T16" fmla="*/ 2 w 657"/>
                  <a:gd name="T17" fmla="*/ 295 h 658"/>
                  <a:gd name="T18" fmla="*/ 11 w 657"/>
                  <a:gd name="T19" fmla="*/ 247 h 658"/>
                  <a:gd name="T20" fmla="*/ 39 w 657"/>
                  <a:gd name="T21" fmla="*/ 172 h 658"/>
                  <a:gd name="T22" fmla="*/ 97 w 657"/>
                  <a:gd name="T23" fmla="*/ 97 h 658"/>
                  <a:gd name="T24" fmla="*/ 172 w 657"/>
                  <a:gd name="T25" fmla="*/ 40 h 658"/>
                  <a:gd name="T26" fmla="*/ 247 w 657"/>
                  <a:gd name="T27" fmla="*/ 11 h 658"/>
                  <a:gd name="T28" fmla="*/ 296 w 657"/>
                  <a:gd name="T29" fmla="*/ 1 h 658"/>
                  <a:gd name="T30" fmla="*/ 329 w 657"/>
                  <a:gd name="T31" fmla="*/ 0 h 658"/>
                  <a:gd name="T32" fmla="*/ 379 w 657"/>
                  <a:gd name="T33" fmla="*/ 4 h 658"/>
                  <a:gd name="T34" fmla="*/ 426 w 657"/>
                  <a:gd name="T35" fmla="*/ 15 h 658"/>
                  <a:gd name="T36" fmla="*/ 512 w 657"/>
                  <a:gd name="T37" fmla="*/ 56 h 658"/>
                  <a:gd name="T38" fmla="*/ 582 w 657"/>
                  <a:gd name="T39" fmla="*/ 120 h 658"/>
                  <a:gd name="T40" fmla="*/ 631 w 657"/>
                  <a:gd name="T41" fmla="*/ 201 h 658"/>
                  <a:gd name="T42" fmla="*/ 650 w 657"/>
                  <a:gd name="T43" fmla="*/ 263 h 658"/>
                  <a:gd name="T44" fmla="*/ 657 w 657"/>
                  <a:gd name="T45" fmla="*/ 312 h 658"/>
                  <a:gd name="T46" fmla="*/ 657 w 657"/>
                  <a:gd name="T47" fmla="*/ 345 h 658"/>
                  <a:gd name="T48" fmla="*/ 650 w 657"/>
                  <a:gd name="T49" fmla="*/ 395 h 658"/>
                  <a:gd name="T50" fmla="*/ 631 w 657"/>
                  <a:gd name="T51" fmla="*/ 457 h 658"/>
                  <a:gd name="T52" fmla="*/ 582 w 657"/>
                  <a:gd name="T53" fmla="*/ 537 h 658"/>
                  <a:gd name="T54" fmla="*/ 512 w 657"/>
                  <a:gd name="T55" fmla="*/ 602 h 658"/>
                  <a:gd name="T56" fmla="*/ 426 w 657"/>
                  <a:gd name="T57" fmla="*/ 643 h 658"/>
                  <a:gd name="T58" fmla="*/ 379 w 657"/>
                  <a:gd name="T59" fmla="*/ 654 h 658"/>
                  <a:gd name="T60" fmla="*/ 329 w 657"/>
                  <a:gd name="T61" fmla="*/ 658 h 658"/>
                  <a:gd name="T62" fmla="*/ 329 w 657"/>
                  <a:gd name="T63" fmla="*/ 38 h 658"/>
                  <a:gd name="T64" fmla="*/ 242 w 657"/>
                  <a:gd name="T65" fmla="*/ 51 h 658"/>
                  <a:gd name="T66" fmla="*/ 167 w 657"/>
                  <a:gd name="T67" fmla="*/ 87 h 658"/>
                  <a:gd name="T68" fmla="*/ 104 w 657"/>
                  <a:gd name="T69" fmla="*/ 144 h 658"/>
                  <a:gd name="T70" fmla="*/ 61 w 657"/>
                  <a:gd name="T71" fmla="*/ 215 h 658"/>
                  <a:gd name="T72" fmla="*/ 39 w 657"/>
                  <a:gd name="T73" fmla="*/ 299 h 658"/>
                  <a:gd name="T74" fmla="*/ 39 w 657"/>
                  <a:gd name="T75" fmla="*/ 359 h 658"/>
                  <a:gd name="T76" fmla="*/ 61 w 657"/>
                  <a:gd name="T77" fmla="*/ 442 h 658"/>
                  <a:gd name="T78" fmla="*/ 104 w 657"/>
                  <a:gd name="T79" fmla="*/ 514 h 658"/>
                  <a:gd name="T80" fmla="*/ 167 w 657"/>
                  <a:gd name="T81" fmla="*/ 569 h 658"/>
                  <a:gd name="T82" fmla="*/ 242 w 657"/>
                  <a:gd name="T83" fmla="*/ 607 h 658"/>
                  <a:gd name="T84" fmla="*/ 329 w 657"/>
                  <a:gd name="T85" fmla="*/ 620 h 658"/>
                  <a:gd name="T86" fmla="*/ 387 w 657"/>
                  <a:gd name="T87" fmla="*/ 614 h 658"/>
                  <a:gd name="T88" fmla="*/ 467 w 657"/>
                  <a:gd name="T89" fmla="*/ 584 h 658"/>
                  <a:gd name="T90" fmla="*/ 535 w 657"/>
                  <a:gd name="T91" fmla="*/ 535 h 658"/>
                  <a:gd name="T92" fmla="*/ 584 w 657"/>
                  <a:gd name="T93" fmla="*/ 467 h 658"/>
                  <a:gd name="T94" fmla="*/ 614 w 657"/>
                  <a:gd name="T95" fmla="*/ 387 h 658"/>
                  <a:gd name="T96" fmla="*/ 619 w 657"/>
                  <a:gd name="T97" fmla="*/ 329 h 658"/>
                  <a:gd name="T98" fmla="*/ 607 w 657"/>
                  <a:gd name="T99" fmla="*/ 242 h 658"/>
                  <a:gd name="T100" fmla="*/ 570 w 657"/>
                  <a:gd name="T101" fmla="*/ 167 h 658"/>
                  <a:gd name="T102" fmla="*/ 513 w 657"/>
                  <a:gd name="T103" fmla="*/ 105 h 658"/>
                  <a:gd name="T104" fmla="*/ 442 w 657"/>
                  <a:gd name="T105" fmla="*/ 60 h 658"/>
                  <a:gd name="T106" fmla="*/ 359 w 657"/>
                  <a:gd name="T107" fmla="*/ 39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8">
                    <a:moveTo>
                      <a:pt x="329" y="658"/>
                    </a:moveTo>
                    <a:lnTo>
                      <a:pt x="329" y="658"/>
                    </a:lnTo>
                    <a:lnTo>
                      <a:pt x="312" y="657"/>
                    </a:lnTo>
                    <a:lnTo>
                      <a:pt x="296" y="655"/>
                    </a:lnTo>
                    <a:lnTo>
                      <a:pt x="278" y="654"/>
                    </a:lnTo>
                    <a:lnTo>
                      <a:pt x="262" y="651"/>
                    </a:lnTo>
                    <a:lnTo>
                      <a:pt x="247" y="647"/>
                    </a:lnTo>
                    <a:lnTo>
                      <a:pt x="231" y="643"/>
                    </a:lnTo>
                    <a:lnTo>
                      <a:pt x="200" y="631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20" y="583"/>
                    </a:lnTo>
                    <a:lnTo>
                      <a:pt x="97" y="561"/>
                    </a:lnTo>
                    <a:lnTo>
                      <a:pt x="75" y="537"/>
                    </a:lnTo>
                    <a:lnTo>
                      <a:pt x="57" y="513"/>
                    </a:lnTo>
                    <a:lnTo>
                      <a:pt x="39" y="485"/>
                    </a:lnTo>
                    <a:lnTo>
                      <a:pt x="26" y="457"/>
                    </a:lnTo>
                    <a:lnTo>
                      <a:pt x="15" y="426"/>
                    </a:lnTo>
                    <a:lnTo>
                      <a:pt x="11" y="411"/>
                    </a:lnTo>
                    <a:lnTo>
                      <a:pt x="7" y="395"/>
                    </a:lnTo>
                    <a:lnTo>
                      <a:pt x="4" y="379"/>
                    </a:lnTo>
                    <a:lnTo>
                      <a:pt x="2" y="363"/>
                    </a:lnTo>
                    <a:lnTo>
                      <a:pt x="0" y="345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5"/>
                    </a:lnTo>
                    <a:lnTo>
                      <a:pt x="4" y="279"/>
                    </a:lnTo>
                    <a:lnTo>
                      <a:pt x="7" y="263"/>
                    </a:lnTo>
                    <a:lnTo>
                      <a:pt x="11" y="247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7" y="145"/>
                    </a:lnTo>
                    <a:lnTo>
                      <a:pt x="75" y="120"/>
                    </a:lnTo>
                    <a:lnTo>
                      <a:pt x="97" y="97"/>
                    </a:lnTo>
                    <a:lnTo>
                      <a:pt x="120" y="75"/>
                    </a:lnTo>
                    <a:lnTo>
                      <a:pt x="145" y="56"/>
                    </a:lnTo>
                    <a:lnTo>
                      <a:pt x="172" y="40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7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6" y="1"/>
                    </a:lnTo>
                    <a:lnTo>
                      <a:pt x="312" y="0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5" y="0"/>
                    </a:lnTo>
                    <a:lnTo>
                      <a:pt x="363" y="1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1" y="11"/>
                    </a:lnTo>
                    <a:lnTo>
                      <a:pt x="426" y="15"/>
                    </a:lnTo>
                    <a:lnTo>
                      <a:pt x="457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37" y="75"/>
                    </a:lnTo>
                    <a:lnTo>
                      <a:pt x="561" y="97"/>
                    </a:lnTo>
                    <a:lnTo>
                      <a:pt x="582" y="120"/>
                    </a:lnTo>
                    <a:lnTo>
                      <a:pt x="602" y="145"/>
                    </a:lnTo>
                    <a:lnTo>
                      <a:pt x="618" y="172"/>
                    </a:lnTo>
                    <a:lnTo>
                      <a:pt x="631" y="201"/>
                    </a:lnTo>
                    <a:lnTo>
                      <a:pt x="642" y="231"/>
                    </a:lnTo>
                    <a:lnTo>
                      <a:pt x="647" y="247"/>
                    </a:lnTo>
                    <a:lnTo>
                      <a:pt x="650" y="263"/>
                    </a:lnTo>
                    <a:lnTo>
                      <a:pt x="654" y="279"/>
                    </a:lnTo>
                    <a:lnTo>
                      <a:pt x="655" y="295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5"/>
                    </a:lnTo>
                    <a:lnTo>
                      <a:pt x="655" y="363"/>
                    </a:lnTo>
                    <a:lnTo>
                      <a:pt x="654" y="379"/>
                    </a:lnTo>
                    <a:lnTo>
                      <a:pt x="650" y="395"/>
                    </a:lnTo>
                    <a:lnTo>
                      <a:pt x="647" y="411"/>
                    </a:lnTo>
                    <a:lnTo>
                      <a:pt x="642" y="426"/>
                    </a:lnTo>
                    <a:lnTo>
                      <a:pt x="631" y="457"/>
                    </a:lnTo>
                    <a:lnTo>
                      <a:pt x="618" y="485"/>
                    </a:lnTo>
                    <a:lnTo>
                      <a:pt x="602" y="513"/>
                    </a:lnTo>
                    <a:lnTo>
                      <a:pt x="582" y="537"/>
                    </a:lnTo>
                    <a:lnTo>
                      <a:pt x="561" y="561"/>
                    </a:lnTo>
                    <a:lnTo>
                      <a:pt x="537" y="583"/>
                    </a:lnTo>
                    <a:lnTo>
                      <a:pt x="512" y="602"/>
                    </a:lnTo>
                    <a:lnTo>
                      <a:pt x="485" y="618"/>
                    </a:lnTo>
                    <a:lnTo>
                      <a:pt x="457" y="631"/>
                    </a:lnTo>
                    <a:lnTo>
                      <a:pt x="426" y="643"/>
                    </a:lnTo>
                    <a:lnTo>
                      <a:pt x="411" y="647"/>
                    </a:lnTo>
                    <a:lnTo>
                      <a:pt x="395" y="651"/>
                    </a:lnTo>
                    <a:lnTo>
                      <a:pt x="379" y="654"/>
                    </a:lnTo>
                    <a:lnTo>
                      <a:pt x="363" y="655"/>
                    </a:lnTo>
                    <a:lnTo>
                      <a:pt x="345" y="657"/>
                    </a:lnTo>
                    <a:lnTo>
                      <a:pt x="329" y="658"/>
                    </a:lnTo>
                    <a:lnTo>
                      <a:pt x="329" y="658"/>
                    </a:lnTo>
                    <a:close/>
                    <a:moveTo>
                      <a:pt x="329" y="38"/>
                    </a:moveTo>
                    <a:lnTo>
                      <a:pt x="329" y="38"/>
                    </a:lnTo>
                    <a:lnTo>
                      <a:pt x="300" y="39"/>
                    </a:lnTo>
                    <a:lnTo>
                      <a:pt x="270" y="43"/>
                    </a:lnTo>
                    <a:lnTo>
                      <a:pt x="242" y="51"/>
                    </a:lnTo>
                    <a:lnTo>
                      <a:pt x="215" y="60"/>
                    </a:lnTo>
                    <a:lnTo>
                      <a:pt x="190" y="73"/>
                    </a:lnTo>
                    <a:lnTo>
                      <a:pt x="167" y="87"/>
                    </a:lnTo>
                    <a:lnTo>
                      <a:pt x="144" y="105"/>
                    </a:lnTo>
                    <a:lnTo>
                      <a:pt x="122" y="124"/>
                    </a:lnTo>
                    <a:lnTo>
                      <a:pt x="104" y="144"/>
                    </a:lnTo>
                    <a:lnTo>
                      <a:pt x="87" y="167"/>
                    </a:lnTo>
                    <a:lnTo>
                      <a:pt x="73" y="191"/>
                    </a:lnTo>
                    <a:lnTo>
                      <a:pt x="61" y="215"/>
                    </a:lnTo>
                    <a:lnTo>
                      <a:pt x="51" y="242"/>
                    </a:lnTo>
                    <a:lnTo>
                      <a:pt x="43" y="270"/>
                    </a:lnTo>
                    <a:lnTo>
                      <a:pt x="39" y="299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51" y="415"/>
                    </a:lnTo>
                    <a:lnTo>
                      <a:pt x="61" y="442"/>
                    </a:lnTo>
                    <a:lnTo>
                      <a:pt x="73" y="467"/>
                    </a:lnTo>
                    <a:lnTo>
                      <a:pt x="87" y="492"/>
                    </a:lnTo>
                    <a:lnTo>
                      <a:pt x="104" y="514"/>
                    </a:lnTo>
                    <a:lnTo>
                      <a:pt x="122" y="535"/>
                    </a:lnTo>
                    <a:lnTo>
                      <a:pt x="144" y="553"/>
                    </a:lnTo>
                    <a:lnTo>
                      <a:pt x="167" y="569"/>
                    </a:lnTo>
                    <a:lnTo>
                      <a:pt x="190" y="584"/>
                    </a:lnTo>
                    <a:lnTo>
                      <a:pt x="215" y="596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300" y="618"/>
                    </a:lnTo>
                    <a:lnTo>
                      <a:pt x="329" y="620"/>
                    </a:lnTo>
                    <a:lnTo>
                      <a:pt x="329" y="620"/>
                    </a:lnTo>
                    <a:lnTo>
                      <a:pt x="359" y="618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6"/>
                    </a:lnTo>
                    <a:lnTo>
                      <a:pt x="467" y="584"/>
                    </a:lnTo>
                    <a:lnTo>
                      <a:pt x="492" y="569"/>
                    </a:lnTo>
                    <a:lnTo>
                      <a:pt x="513" y="553"/>
                    </a:lnTo>
                    <a:lnTo>
                      <a:pt x="535" y="535"/>
                    </a:lnTo>
                    <a:lnTo>
                      <a:pt x="553" y="514"/>
                    </a:lnTo>
                    <a:lnTo>
                      <a:pt x="570" y="492"/>
                    </a:lnTo>
                    <a:lnTo>
                      <a:pt x="584" y="467"/>
                    </a:lnTo>
                    <a:lnTo>
                      <a:pt x="596" y="442"/>
                    </a:lnTo>
                    <a:lnTo>
                      <a:pt x="607" y="415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19" y="329"/>
                    </a:lnTo>
                    <a:lnTo>
                      <a:pt x="619" y="329"/>
                    </a:lnTo>
                    <a:lnTo>
                      <a:pt x="618" y="299"/>
                    </a:lnTo>
                    <a:lnTo>
                      <a:pt x="614" y="270"/>
                    </a:lnTo>
                    <a:lnTo>
                      <a:pt x="607" y="242"/>
                    </a:lnTo>
                    <a:lnTo>
                      <a:pt x="596" y="215"/>
                    </a:lnTo>
                    <a:lnTo>
                      <a:pt x="584" y="191"/>
                    </a:lnTo>
                    <a:lnTo>
                      <a:pt x="570" y="167"/>
                    </a:lnTo>
                    <a:lnTo>
                      <a:pt x="553" y="144"/>
                    </a:lnTo>
                    <a:lnTo>
                      <a:pt x="535" y="124"/>
                    </a:lnTo>
                    <a:lnTo>
                      <a:pt x="513" y="105"/>
                    </a:lnTo>
                    <a:lnTo>
                      <a:pt x="492" y="87"/>
                    </a:lnTo>
                    <a:lnTo>
                      <a:pt x="467" y="73"/>
                    </a:lnTo>
                    <a:lnTo>
                      <a:pt x="442" y="60"/>
                    </a:lnTo>
                    <a:lnTo>
                      <a:pt x="415" y="51"/>
                    </a:lnTo>
                    <a:lnTo>
                      <a:pt x="387" y="43"/>
                    </a:lnTo>
                    <a:lnTo>
                      <a:pt x="359" y="39"/>
                    </a:lnTo>
                    <a:lnTo>
                      <a:pt x="329" y="38"/>
                    </a:lnTo>
                    <a:lnTo>
                      <a:pt x="329" y="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89"/>
              <p:cNvSpPr>
                <a:spLocks/>
              </p:cNvSpPr>
              <p:nvPr/>
            </p:nvSpPr>
            <p:spPr bwMode="auto">
              <a:xfrm>
                <a:off x="6970713" y="1912938"/>
                <a:ext cx="46038" cy="46038"/>
              </a:xfrm>
              <a:custGeom>
                <a:avLst/>
                <a:gdLst>
                  <a:gd name="T0" fmla="*/ 30 w 59"/>
                  <a:gd name="T1" fmla="*/ 0 h 58"/>
                  <a:gd name="T2" fmla="*/ 30 w 59"/>
                  <a:gd name="T3" fmla="*/ 0 h 58"/>
                  <a:gd name="T4" fmla="*/ 23 w 59"/>
                  <a:gd name="T5" fmla="*/ 0 h 58"/>
                  <a:gd name="T6" fmla="*/ 17 w 59"/>
                  <a:gd name="T7" fmla="*/ 1 h 58"/>
                  <a:gd name="T8" fmla="*/ 12 w 59"/>
                  <a:gd name="T9" fmla="*/ 4 h 58"/>
                  <a:gd name="T10" fmla="*/ 8 w 59"/>
                  <a:gd name="T11" fmla="*/ 8 h 58"/>
                  <a:gd name="T12" fmla="*/ 5 w 59"/>
                  <a:gd name="T13" fmla="*/ 12 h 58"/>
                  <a:gd name="T14" fmla="*/ 3 w 59"/>
                  <a:gd name="T15" fmla="*/ 17 h 58"/>
                  <a:gd name="T16" fmla="*/ 0 w 59"/>
                  <a:gd name="T17" fmla="*/ 23 h 58"/>
                  <a:gd name="T18" fmla="*/ 0 w 59"/>
                  <a:gd name="T19" fmla="*/ 28 h 58"/>
                  <a:gd name="T20" fmla="*/ 0 w 59"/>
                  <a:gd name="T21" fmla="*/ 28 h 58"/>
                  <a:gd name="T22" fmla="*/ 0 w 59"/>
                  <a:gd name="T23" fmla="*/ 35 h 58"/>
                  <a:gd name="T24" fmla="*/ 3 w 59"/>
                  <a:gd name="T25" fmla="*/ 40 h 58"/>
                  <a:gd name="T26" fmla="*/ 5 w 59"/>
                  <a:gd name="T27" fmla="*/ 46 h 58"/>
                  <a:gd name="T28" fmla="*/ 8 w 59"/>
                  <a:gd name="T29" fmla="*/ 50 h 58"/>
                  <a:gd name="T30" fmla="*/ 12 w 59"/>
                  <a:gd name="T31" fmla="*/ 54 h 58"/>
                  <a:gd name="T32" fmla="*/ 17 w 59"/>
                  <a:gd name="T33" fmla="*/ 56 h 58"/>
                  <a:gd name="T34" fmla="*/ 23 w 59"/>
                  <a:gd name="T35" fmla="*/ 58 h 58"/>
                  <a:gd name="T36" fmla="*/ 30 w 59"/>
                  <a:gd name="T37" fmla="*/ 58 h 58"/>
                  <a:gd name="T38" fmla="*/ 30 w 59"/>
                  <a:gd name="T39" fmla="*/ 58 h 58"/>
                  <a:gd name="T40" fmla="*/ 35 w 59"/>
                  <a:gd name="T41" fmla="*/ 58 h 58"/>
                  <a:gd name="T42" fmla="*/ 40 w 59"/>
                  <a:gd name="T43" fmla="*/ 56 h 58"/>
                  <a:gd name="T44" fmla="*/ 46 w 59"/>
                  <a:gd name="T45" fmla="*/ 54 h 58"/>
                  <a:gd name="T46" fmla="*/ 50 w 59"/>
                  <a:gd name="T47" fmla="*/ 50 h 58"/>
                  <a:gd name="T48" fmla="*/ 54 w 59"/>
                  <a:gd name="T49" fmla="*/ 46 h 58"/>
                  <a:gd name="T50" fmla="*/ 56 w 59"/>
                  <a:gd name="T51" fmla="*/ 40 h 58"/>
                  <a:gd name="T52" fmla="*/ 58 w 59"/>
                  <a:gd name="T53" fmla="*/ 35 h 58"/>
                  <a:gd name="T54" fmla="*/ 59 w 59"/>
                  <a:gd name="T55" fmla="*/ 28 h 58"/>
                  <a:gd name="T56" fmla="*/ 59 w 59"/>
                  <a:gd name="T57" fmla="*/ 28 h 58"/>
                  <a:gd name="T58" fmla="*/ 58 w 59"/>
                  <a:gd name="T59" fmla="*/ 23 h 58"/>
                  <a:gd name="T60" fmla="*/ 56 w 59"/>
                  <a:gd name="T61" fmla="*/ 17 h 58"/>
                  <a:gd name="T62" fmla="*/ 54 w 59"/>
                  <a:gd name="T63" fmla="*/ 12 h 58"/>
                  <a:gd name="T64" fmla="*/ 50 w 59"/>
                  <a:gd name="T65" fmla="*/ 8 h 58"/>
                  <a:gd name="T66" fmla="*/ 46 w 59"/>
                  <a:gd name="T67" fmla="*/ 4 h 58"/>
                  <a:gd name="T68" fmla="*/ 40 w 59"/>
                  <a:gd name="T69" fmla="*/ 1 h 58"/>
                  <a:gd name="T70" fmla="*/ 35 w 59"/>
                  <a:gd name="T71" fmla="*/ 0 h 58"/>
                  <a:gd name="T72" fmla="*/ 30 w 59"/>
                  <a:gd name="T73" fmla="*/ 0 h 58"/>
                  <a:gd name="T74" fmla="*/ 30 w 59"/>
                  <a:gd name="T7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9" h="58">
                    <a:moveTo>
                      <a:pt x="30" y="0"/>
                    </a:moveTo>
                    <a:lnTo>
                      <a:pt x="30" y="0"/>
                    </a:lnTo>
                    <a:lnTo>
                      <a:pt x="23" y="0"/>
                    </a:lnTo>
                    <a:lnTo>
                      <a:pt x="17" y="1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5" y="12"/>
                    </a:lnTo>
                    <a:lnTo>
                      <a:pt x="3" y="17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3" y="40"/>
                    </a:lnTo>
                    <a:lnTo>
                      <a:pt x="5" y="46"/>
                    </a:lnTo>
                    <a:lnTo>
                      <a:pt x="8" y="50"/>
                    </a:lnTo>
                    <a:lnTo>
                      <a:pt x="12" y="54"/>
                    </a:lnTo>
                    <a:lnTo>
                      <a:pt x="17" y="56"/>
                    </a:lnTo>
                    <a:lnTo>
                      <a:pt x="23" y="58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5" y="58"/>
                    </a:lnTo>
                    <a:lnTo>
                      <a:pt x="40" y="56"/>
                    </a:lnTo>
                    <a:lnTo>
                      <a:pt x="46" y="54"/>
                    </a:lnTo>
                    <a:lnTo>
                      <a:pt x="50" y="50"/>
                    </a:lnTo>
                    <a:lnTo>
                      <a:pt x="54" y="46"/>
                    </a:lnTo>
                    <a:lnTo>
                      <a:pt x="56" y="40"/>
                    </a:lnTo>
                    <a:lnTo>
                      <a:pt x="58" y="35"/>
                    </a:lnTo>
                    <a:lnTo>
                      <a:pt x="59" y="28"/>
                    </a:lnTo>
                    <a:lnTo>
                      <a:pt x="59" y="28"/>
                    </a:lnTo>
                    <a:lnTo>
                      <a:pt x="58" y="23"/>
                    </a:lnTo>
                    <a:lnTo>
                      <a:pt x="56" y="17"/>
                    </a:lnTo>
                    <a:lnTo>
                      <a:pt x="54" y="12"/>
                    </a:lnTo>
                    <a:lnTo>
                      <a:pt x="50" y="8"/>
                    </a:lnTo>
                    <a:lnTo>
                      <a:pt x="46" y="4"/>
                    </a:lnTo>
                    <a:lnTo>
                      <a:pt x="40" y="1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90"/>
              <p:cNvSpPr>
                <a:spLocks noEditPoints="1"/>
              </p:cNvSpPr>
              <p:nvPr/>
            </p:nvSpPr>
            <p:spPr bwMode="auto">
              <a:xfrm>
                <a:off x="6861176" y="1787525"/>
                <a:ext cx="263525" cy="295275"/>
              </a:xfrm>
              <a:custGeom>
                <a:avLst/>
                <a:gdLst>
                  <a:gd name="T0" fmla="*/ 305 w 332"/>
                  <a:gd name="T1" fmla="*/ 169 h 372"/>
                  <a:gd name="T2" fmla="*/ 332 w 332"/>
                  <a:gd name="T3" fmla="*/ 108 h 372"/>
                  <a:gd name="T4" fmla="*/ 314 w 332"/>
                  <a:gd name="T5" fmla="*/ 80 h 372"/>
                  <a:gd name="T6" fmla="*/ 266 w 332"/>
                  <a:gd name="T7" fmla="*/ 72 h 372"/>
                  <a:gd name="T8" fmla="*/ 210 w 332"/>
                  <a:gd name="T9" fmla="*/ 32 h 372"/>
                  <a:gd name="T10" fmla="*/ 167 w 332"/>
                  <a:gd name="T11" fmla="*/ 0 h 372"/>
                  <a:gd name="T12" fmla="*/ 117 w 332"/>
                  <a:gd name="T13" fmla="*/ 45 h 372"/>
                  <a:gd name="T14" fmla="*/ 55 w 332"/>
                  <a:gd name="T15" fmla="*/ 71 h 372"/>
                  <a:gd name="T16" fmla="*/ 13 w 332"/>
                  <a:gd name="T17" fmla="*/ 83 h 372"/>
                  <a:gd name="T18" fmla="*/ 1 w 332"/>
                  <a:gd name="T19" fmla="*/ 117 h 372"/>
                  <a:gd name="T20" fmla="*/ 28 w 332"/>
                  <a:gd name="T21" fmla="*/ 169 h 372"/>
                  <a:gd name="T22" fmla="*/ 12 w 332"/>
                  <a:gd name="T23" fmla="*/ 224 h 372"/>
                  <a:gd name="T24" fmla="*/ 5 w 332"/>
                  <a:gd name="T25" fmla="*/ 279 h 372"/>
                  <a:gd name="T26" fmla="*/ 31 w 332"/>
                  <a:gd name="T27" fmla="*/ 297 h 372"/>
                  <a:gd name="T28" fmla="*/ 105 w 332"/>
                  <a:gd name="T29" fmla="*/ 292 h 372"/>
                  <a:gd name="T30" fmla="*/ 140 w 332"/>
                  <a:gd name="T31" fmla="*/ 360 h 372"/>
                  <a:gd name="T32" fmla="*/ 184 w 332"/>
                  <a:gd name="T33" fmla="*/ 366 h 372"/>
                  <a:gd name="T34" fmla="*/ 228 w 332"/>
                  <a:gd name="T35" fmla="*/ 292 h 372"/>
                  <a:gd name="T36" fmla="*/ 294 w 332"/>
                  <a:gd name="T37" fmla="*/ 298 h 372"/>
                  <a:gd name="T38" fmla="*/ 328 w 332"/>
                  <a:gd name="T39" fmla="*/ 279 h 372"/>
                  <a:gd name="T40" fmla="*/ 325 w 332"/>
                  <a:gd name="T41" fmla="*/ 235 h 372"/>
                  <a:gd name="T42" fmla="*/ 55 w 332"/>
                  <a:gd name="T43" fmla="*/ 280 h 372"/>
                  <a:gd name="T44" fmla="*/ 23 w 332"/>
                  <a:gd name="T45" fmla="*/ 268 h 372"/>
                  <a:gd name="T46" fmla="*/ 27 w 332"/>
                  <a:gd name="T47" fmla="*/ 239 h 372"/>
                  <a:gd name="T48" fmla="*/ 75 w 332"/>
                  <a:gd name="T49" fmla="*/ 213 h 372"/>
                  <a:gd name="T50" fmla="*/ 75 w 332"/>
                  <a:gd name="T51" fmla="*/ 278 h 372"/>
                  <a:gd name="T52" fmla="*/ 73 w 332"/>
                  <a:gd name="T53" fmla="*/ 185 h 372"/>
                  <a:gd name="T54" fmla="*/ 91 w 332"/>
                  <a:gd name="T55" fmla="*/ 203 h 372"/>
                  <a:gd name="T56" fmla="*/ 43 w 332"/>
                  <a:gd name="T57" fmla="*/ 157 h 372"/>
                  <a:gd name="T58" fmla="*/ 22 w 332"/>
                  <a:gd name="T59" fmla="*/ 118 h 372"/>
                  <a:gd name="T60" fmla="*/ 28 w 332"/>
                  <a:gd name="T61" fmla="*/ 96 h 372"/>
                  <a:gd name="T62" fmla="*/ 99 w 332"/>
                  <a:gd name="T63" fmla="*/ 98 h 372"/>
                  <a:gd name="T64" fmla="*/ 218 w 332"/>
                  <a:gd name="T65" fmla="*/ 130 h 372"/>
                  <a:gd name="T66" fmla="*/ 214 w 332"/>
                  <a:gd name="T67" fmla="*/ 104 h 372"/>
                  <a:gd name="T68" fmla="*/ 177 w 332"/>
                  <a:gd name="T69" fmla="*/ 24 h 372"/>
                  <a:gd name="T70" fmla="*/ 210 w 332"/>
                  <a:gd name="T71" fmla="*/ 84 h 372"/>
                  <a:gd name="T72" fmla="*/ 124 w 332"/>
                  <a:gd name="T73" fmla="*/ 84 h 372"/>
                  <a:gd name="T74" fmla="*/ 149 w 332"/>
                  <a:gd name="T75" fmla="*/ 29 h 372"/>
                  <a:gd name="T76" fmla="*/ 120 w 332"/>
                  <a:gd name="T77" fmla="*/ 104 h 372"/>
                  <a:gd name="T78" fmla="*/ 114 w 332"/>
                  <a:gd name="T79" fmla="*/ 130 h 372"/>
                  <a:gd name="T80" fmla="*/ 129 w 332"/>
                  <a:gd name="T81" fmla="*/ 250 h 372"/>
                  <a:gd name="T82" fmla="*/ 114 w 332"/>
                  <a:gd name="T83" fmla="*/ 241 h 372"/>
                  <a:gd name="T84" fmla="*/ 142 w 332"/>
                  <a:gd name="T85" fmla="*/ 334 h 372"/>
                  <a:gd name="T86" fmla="*/ 145 w 332"/>
                  <a:gd name="T87" fmla="*/ 279 h 372"/>
                  <a:gd name="T88" fmla="*/ 204 w 332"/>
                  <a:gd name="T89" fmla="*/ 301 h 372"/>
                  <a:gd name="T90" fmla="*/ 172 w 332"/>
                  <a:gd name="T91" fmla="*/ 350 h 372"/>
                  <a:gd name="T92" fmla="*/ 189 w 332"/>
                  <a:gd name="T93" fmla="*/ 258 h 372"/>
                  <a:gd name="T94" fmla="*/ 214 w 332"/>
                  <a:gd name="T95" fmla="*/ 267 h 372"/>
                  <a:gd name="T96" fmla="*/ 167 w 332"/>
                  <a:gd name="T97" fmla="*/ 248 h 372"/>
                  <a:gd name="T98" fmla="*/ 111 w 332"/>
                  <a:gd name="T99" fmla="*/ 185 h 372"/>
                  <a:gd name="T100" fmla="*/ 167 w 332"/>
                  <a:gd name="T101" fmla="*/ 123 h 372"/>
                  <a:gd name="T102" fmla="*/ 220 w 332"/>
                  <a:gd name="T103" fmla="*/ 185 h 372"/>
                  <a:gd name="T104" fmla="*/ 295 w 332"/>
                  <a:gd name="T105" fmla="*/ 94 h 372"/>
                  <a:gd name="T106" fmla="*/ 312 w 332"/>
                  <a:gd name="T107" fmla="*/ 113 h 372"/>
                  <a:gd name="T108" fmla="*/ 289 w 332"/>
                  <a:gd name="T109" fmla="*/ 157 h 372"/>
                  <a:gd name="T110" fmla="*/ 236 w 332"/>
                  <a:gd name="T111" fmla="*/ 121 h 372"/>
                  <a:gd name="T112" fmla="*/ 240 w 332"/>
                  <a:gd name="T113" fmla="*/ 169 h 372"/>
                  <a:gd name="T114" fmla="*/ 240 w 332"/>
                  <a:gd name="T115" fmla="*/ 185 h 372"/>
                  <a:gd name="T116" fmla="*/ 308 w 332"/>
                  <a:gd name="T117" fmla="*/ 272 h 372"/>
                  <a:gd name="T118" fmla="*/ 257 w 332"/>
                  <a:gd name="T119" fmla="*/ 278 h 372"/>
                  <a:gd name="T120" fmla="*/ 258 w 332"/>
                  <a:gd name="T121" fmla="*/ 213 h 372"/>
                  <a:gd name="T122" fmla="*/ 301 w 332"/>
                  <a:gd name="T123" fmla="*/ 232 h 372"/>
                  <a:gd name="T124" fmla="*/ 310 w 332"/>
                  <a:gd name="T125" fmla="*/ 26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2" h="372">
                    <a:moveTo>
                      <a:pt x="305" y="203"/>
                    </a:moveTo>
                    <a:lnTo>
                      <a:pt x="305" y="203"/>
                    </a:lnTo>
                    <a:lnTo>
                      <a:pt x="289" y="185"/>
                    </a:lnTo>
                    <a:lnTo>
                      <a:pt x="289" y="185"/>
                    </a:lnTo>
                    <a:lnTo>
                      <a:pt x="305" y="169"/>
                    </a:lnTo>
                    <a:lnTo>
                      <a:pt x="305" y="169"/>
                    </a:lnTo>
                    <a:lnTo>
                      <a:pt x="313" y="158"/>
                    </a:lnTo>
                    <a:lnTo>
                      <a:pt x="320" y="147"/>
                    </a:lnTo>
                    <a:lnTo>
                      <a:pt x="325" y="137"/>
                    </a:lnTo>
                    <a:lnTo>
                      <a:pt x="329" y="126"/>
                    </a:lnTo>
                    <a:lnTo>
                      <a:pt x="332" y="117"/>
                    </a:lnTo>
                    <a:lnTo>
                      <a:pt x="332" y="108"/>
                    </a:lnTo>
                    <a:lnTo>
                      <a:pt x="330" y="100"/>
                    </a:lnTo>
                    <a:lnTo>
                      <a:pt x="328" y="92"/>
                    </a:lnTo>
                    <a:lnTo>
                      <a:pt x="328" y="92"/>
                    </a:lnTo>
                    <a:lnTo>
                      <a:pt x="324" y="88"/>
                    </a:lnTo>
                    <a:lnTo>
                      <a:pt x="320" y="83"/>
                    </a:lnTo>
                    <a:lnTo>
                      <a:pt x="314" y="80"/>
                    </a:lnTo>
                    <a:lnTo>
                      <a:pt x="309" y="78"/>
                    </a:lnTo>
                    <a:lnTo>
                      <a:pt x="302" y="75"/>
                    </a:lnTo>
                    <a:lnTo>
                      <a:pt x="294" y="74"/>
                    </a:lnTo>
                    <a:lnTo>
                      <a:pt x="278" y="71"/>
                    </a:lnTo>
                    <a:lnTo>
                      <a:pt x="278" y="71"/>
                    </a:lnTo>
                    <a:lnTo>
                      <a:pt x="266" y="72"/>
                    </a:lnTo>
                    <a:lnTo>
                      <a:pt x="254" y="74"/>
                    </a:lnTo>
                    <a:lnTo>
                      <a:pt x="228" y="79"/>
                    </a:lnTo>
                    <a:lnTo>
                      <a:pt x="228" y="79"/>
                    </a:lnTo>
                    <a:lnTo>
                      <a:pt x="222" y="61"/>
                    </a:lnTo>
                    <a:lnTo>
                      <a:pt x="216" y="45"/>
                    </a:lnTo>
                    <a:lnTo>
                      <a:pt x="210" y="32"/>
                    </a:lnTo>
                    <a:lnTo>
                      <a:pt x="201" y="20"/>
                    </a:lnTo>
                    <a:lnTo>
                      <a:pt x="193" y="12"/>
                    </a:lnTo>
                    <a:lnTo>
                      <a:pt x="184" y="5"/>
                    </a:lnTo>
                    <a:lnTo>
                      <a:pt x="176" y="1"/>
                    </a:lnTo>
                    <a:lnTo>
                      <a:pt x="167" y="0"/>
                    </a:lnTo>
                    <a:lnTo>
                      <a:pt x="167" y="0"/>
                    </a:lnTo>
                    <a:lnTo>
                      <a:pt x="157" y="1"/>
                    </a:lnTo>
                    <a:lnTo>
                      <a:pt x="148" y="5"/>
                    </a:lnTo>
                    <a:lnTo>
                      <a:pt x="140" y="12"/>
                    </a:lnTo>
                    <a:lnTo>
                      <a:pt x="130" y="20"/>
                    </a:lnTo>
                    <a:lnTo>
                      <a:pt x="124" y="32"/>
                    </a:lnTo>
                    <a:lnTo>
                      <a:pt x="117" y="45"/>
                    </a:lnTo>
                    <a:lnTo>
                      <a:pt x="110" y="61"/>
                    </a:lnTo>
                    <a:lnTo>
                      <a:pt x="105" y="79"/>
                    </a:lnTo>
                    <a:lnTo>
                      <a:pt x="105" y="79"/>
                    </a:lnTo>
                    <a:lnTo>
                      <a:pt x="78" y="74"/>
                    </a:lnTo>
                    <a:lnTo>
                      <a:pt x="66" y="72"/>
                    </a:lnTo>
                    <a:lnTo>
                      <a:pt x="55" y="71"/>
                    </a:lnTo>
                    <a:lnTo>
                      <a:pt x="55" y="71"/>
                    </a:lnTo>
                    <a:lnTo>
                      <a:pt x="38" y="74"/>
                    </a:lnTo>
                    <a:lnTo>
                      <a:pt x="31" y="75"/>
                    </a:lnTo>
                    <a:lnTo>
                      <a:pt x="24" y="78"/>
                    </a:lnTo>
                    <a:lnTo>
                      <a:pt x="18" y="80"/>
                    </a:lnTo>
                    <a:lnTo>
                      <a:pt x="13" y="83"/>
                    </a:lnTo>
                    <a:lnTo>
                      <a:pt x="8" y="88"/>
                    </a:lnTo>
                    <a:lnTo>
                      <a:pt x="5" y="92"/>
                    </a:lnTo>
                    <a:lnTo>
                      <a:pt x="5" y="92"/>
                    </a:lnTo>
                    <a:lnTo>
                      <a:pt x="1" y="100"/>
                    </a:lnTo>
                    <a:lnTo>
                      <a:pt x="0" y="108"/>
                    </a:lnTo>
                    <a:lnTo>
                      <a:pt x="1" y="117"/>
                    </a:lnTo>
                    <a:lnTo>
                      <a:pt x="3" y="126"/>
                    </a:lnTo>
                    <a:lnTo>
                      <a:pt x="7" y="137"/>
                    </a:lnTo>
                    <a:lnTo>
                      <a:pt x="12" y="147"/>
                    </a:lnTo>
                    <a:lnTo>
                      <a:pt x="19" y="158"/>
                    </a:lnTo>
                    <a:lnTo>
                      <a:pt x="28" y="169"/>
                    </a:lnTo>
                    <a:lnTo>
                      <a:pt x="28" y="169"/>
                    </a:lnTo>
                    <a:lnTo>
                      <a:pt x="43" y="185"/>
                    </a:lnTo>
                    <a:lnTo>
                      <a:pt x="43" y="185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19" y="213"/>
                    </a:lnTo>
                    <a:lnTo>
                      <a:pt x="12" y="224"/>
                    </a:lnTo>
                    <a:lnTo>
                      <a:pt x="7" y="235"/>
                    </a:lnTo>
                    <a:lnTo>
                      <a:pt x="3" y="244"/>
                    </a:lnTo>
                    <a:lnTo>
                      <a:pt x="1" y="255"/>
                    </a:lnTo>
                    <a:lnTo>
                      <a:pt x="0" y="263"/>
                    </a:lnTo>
                    <a:lnTo>
                      <a:pt x="1" y="271"/>
                    </a:lnTo>
                    <a:lnTo>
                      <a:pt x="5" y="279"/>
                    </a:lnTo>
                    <a:lnTo>
                      <a:pt x="5" y="279"/>
                    </a:lnTo>
                    <a:lnTo>
                      <a:pt x="8" y="283"/>
                    </a:lnTo>
                    <a:lnTo>
                      <a:pt x="13" y="288"/>
                    </a:lnTo>
                    <a:lnTo>
                      <a:pt x="18" y="291"/>
                    </a:lnTo>
                    <a:lnTo>
                      <a:pt x="24" y="294"/>
                    </a:lnTo>
                    <a:lnTo>
                      <a:pt x="31" y="297"/>
                    </a:lnTo>
                    <a:lnTo>
                      <a:pt x="38" y="298"/>
                    </a:lnTo>
                    <a:lnTo>
                      <a:pt x="55" y="299"/>
                    </a:lnTo>
                    <a:lnTo>
                      <a:pt x="55" y="299"/>
                    </a:lnTo>
                    <a:lnTo>
                      <a:pt x="66" y="299"/>
                    </a:lnTo>
                    <a:lnTo>
                      <a:pt x="78" y="298"/>
                    </a:lnTo>
                    <a:lnTo>
                      <a:pt x="105" y="292"/>
                    </a:lnTo>
                    <a:lnTo>
                      <a:pt x="105" y="292"/>
                    </a:lnTo>
                    <a:lnTo>
                      <a:pt x="110" y="310"/>
                    </a:lnTo>
                    <a:lnTo>
                      <a:pt x="117" y="326"/>
                    </a:lnTo>
                    <a:lnTo>
                      <a:pt x="124" y="339"/>
                    </a:lnTo>
                    <a:lnTo>
                      <a:pt x="130" y="350"/>
                    </a:lnTo>
                    <a:lnTo>
                      <a:pt x="140" y="360"/>
                    </a:lnTo>
                    <a:lnTo>
                      <a:pt x="148" y="366"/>
                    </a:lnTo>
                    <a:lnTo>
                      <a:pt x="157" y="370"/>
                    </a:lnTo>
                    <a:lnTo>
                      <a:pt x="167" y="372"/>
                    </a:lnTo>
                    <a:lnTo>
                      <a:pt x="167" y="372"/>
                    </a:lnTo>
                    <a:lnTo>
                      <a:pt x="176" y="370"/>
                    </a:lnTo>
                    <a:lnTo>
                      <a:pt x="184" y="366"/>
                    </a:lnTo>
                    <a:lnTo>
                      <a:pt x="193" y="360"/>
                    </a:lnTo>
                    <a:lnTo>
                      <a:pt x="201" y="350"/>
                    </a:lnTo>
                    <a:lnTo>
                      <a:pt x="210" y="339"/>
                    </a:lnTo>
                    <a:lnTo>
                      <a:pt x="216" y="326"/>
                    </a:lnTo>
                    <a:lnTo>
                      <a:pt x="222" y="310"/>
                    </a:lnTo>
                    <a:lnTo>
                      <a:pt x="228" y="292"/>
                    </a:lnTo>
                    <a:lnTo>
                      <a:pt x="228" y="292"/>
                    </a:lnTo>
                    <a:lnTo>
                      <a:pt x="254" y="298"/>
                    </a:lnTo>
                    <a:lnTo>
                      <a:pt x="266" y="299"/>
                    </a:lnTo>
                    <a:lnTo>
                      <a:pt x="278" y="299"/>
                    </a:lnTo>
                    <a:lnTo>
                      <a:pt x="278" y="299"/>
                    </a:lnTo>
                    <a:lnTo>
                      <a:pt x="294" y="298"/>
                    </a:lnTo>
                    <a:lnTo>
                      <a:pt x="302" y="297"/>
                    </a:lnTo>
                    <a:lnTo>
                      <a:pt x="309" y="294"/>
                    </a:lnTo>
                    <a:lnTo>
                      <a:pt x="314" y="291"/>
                    </a:lnTo>
                    <a:lnTo>
                      <a:pt x="320" y="288"/>
                    </a:lnTo>
                    <a:lnTo>
                      <a:pt x="324" y="283"/>
                    </a:lnTo>
                    <a:lnTo>
                      <a:pt x="328" y="279"/>
                    </a:lnTo>
                    <a:lnTo>
                      <a:pt x="328" y="279"/>
                    </a:lnTo>
                    <a:lnTo>
                      <a:pt x="330" y="271"/>
                    </a:lnTo>
                    <a:lnTo>
                      <a:pt x="332" y="263"/>
                    </a:lnTo>
                    <a:lnTo>
                      <a:pt x="332" y="255"/>
                    </a:lnTo>
                    <a:lnTo>
                      <a:pt x="329" y="244"/>
                    </a:lnTo>
                    <a:lnTo>
                      <a:pt x="325" y="235"/>
                    </a:lnTo>
                    <a:lnTo>
                      <a:pt x="320" y="224"/>
                    </a:lnTo>
                    <a:lnTo>
                      <a:pt x="313" y="213"/>
                    </a:lnTo>
                    <a:lnTo>
                      <a:pt x="305" y="203"/>
                    </a:lnTo>
                    <a:lnTo>
                      <a:pt x="305" y="203"/>
                    </a:lnTo>
                    <a:close/>
                    <a:moveTo>
                      <a:pt x="55" y="280"/>
                    </a:moveTo>
                    <a:lnTo>
                      <a:pt x="55" y="280"/>
                    </a:lnTo>
                    <a:lnTo>
                      <a:pt x="55" y="280"/>
                    </a:lnTo>
                    <a:lnTo>
                      <a:pt x="46" y="279"/>
                    </a:lnTo>
                    <a:lnTo>
                      <a:pt x="38" y="278"/>
                    </a:lnTo>
                    <a:lnTo>
                      <a:pt x="28" y="275"/>
                    </a:lnTo>
                    <a:lnTo>
                      <a:pt x="26" y="272"/>
                    </a:lnTo>
                    <a:lnTo>
                      <a:pt x="23" y="268"/>
                    </a:lnTo>
                    <a:lnTo>
                      <a:pt x="23" y="268"/>
                    </a:lnTo>
                    <a:lnTo>
                      <a:pt x="20" y="264"/>
                    </a:lnTo>
                    <a:lnTo>
                      <a:pt x="20" y="259"/>
                    </a:lnTo>
                    <a:lnTo>
                      <a:pt x="22" y="254"/>
                    </a:lnTo>
                    <a:lnTo>
                      <a:pt x="23" y="247"/>
                    </a:lnTo>
                    <a:lnTo>
                      <a:pt x="27" y="239"/>
                    </a:lnTo>
                    <a:lnTo>
                      <a:pt x="31" y="232"/>
                    </a:lnTo>
                    <a:lnTo>
                      <a:pt x="43" y="215"/>
                    </a:lnTo>
                    <a:lnTo>
                      <a:pt x="43" y="215"/>
                    </a:lnTo>
                    <a:lnTo>
                      <a:pt x="58" y="200"/>
                    </a:lnTo>
                    <a:lnTo>
                      <a:pt x="58" y="200"/>
                    </a:lnTo>
                    <a:lnTo>
                      <a:pt x="75" y="213"/>
                    </a:lnTo>
                    <a:lnTo>
                      <a:pt x="94" y="228"/>
                    </a:lnTo>
                    <a:lnTo>
                      <a:pt x="94" y="228"/>
                    </a:lnTo>
                    <a:lnTo>
                      <a:pt x="97" y="251"/>
                    </a:lnTo>
                    <a:lnTo>
                      <a:pt x="99" y="274"/>
                    </a:lnTo>
                    <a:lnTo>
                      <a:pt x="99" y="274"/>
                    </a:lnTo>
                    <a:lnTo>
                      <a:pt x="75" y="278"/>
                    </a:lnTo>
                    <a:lnTo>
                      <a:pt x="55" y="280"/>
                    </a:lnTo>
                    <a:lnTo>
                      <a:pt x="55" y="280"/>
                    </a:lnTo>
                    <a:close/>
                    <a:moveTo>
                      <a:pt x="91" y="203"/>
                    </a:moveTo>
                    <a:lnTo>
                      <a:pt x="91" y="203"/>
                    </a:lnTo>
                    <a:lnTo>
                      <a:pt x="73" y="185"/>
                    </a:lnTo>
                    <a:lnTo>
                      <a:pt x="73" y="185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91" y="185"/>
                    </a:lnTo>
                    <a:lnTo>
                      <a:pt x="91" y="185"/>
                    </a:lnTo>
                    <a:lnTo>
                      <a:pt x="91" y="203"/>
                    </a:lnTo>
                    <a:lnTo>
                      <a:pt x="91" y="203"/>
                    </a:lnTo>
                    <a:close/>
                    <a:moveTo>
                      <a:pt x="94" y="143"/>
                    </a:moveTo>
                    <a:lnTo>
                      <a:pt x="94" y="143"/>
                    </a:lnTo>
                    <a:lnTo>
                      <a:pt x="75" y="158"/>
                    </a:lnTo>
                    <a:lnTo>
                      <a:pt x="58" y="172"/>
                    </a:lnTo>
                    <a:lnTo>
                      <a:pt x="58" y="172"/>
                    </a:lnTo>
                    <a:lnTo>
                      <a:pt x="43" y="157"/>
                    </a:lnTo>
                    <a:lnTo>
                      <a:pt x="43" y="157"/>
                    </a:lnTo>
                    <a:lnTo>
                      <a:pt x="43" y="157"/>
                    </a:lnTo>
                    <a:lnTo>
                      <a:pt x="31" y="139"/>
                    </a:lnTo>
                    <a:lnTo>
                      <a:pt x="27" y="133"/>
                    </a:lnTo>
                    <a:lnTo>
                      <a:pt x="23" y="125"/>
                    </a:lnTo>
                    <a:lnTo>
                      <a:pt x="22" y="118"/>
                    </a:lnTo>
                    <a:lnTo>
                      <a:pt x="20" y="113"/>
                    </a:lnTo>
                    <a:lnTo>
                      <a:pt x="20" y="107"/>
                    </a:lnTo>
                    <a:lnTo>
                      <a:pt x="23" y="103"/>
                    </a:lnTo>
                    <a:lnTo>
                      <a:pt x="23" y="103"/>
                    </a:lnTo>
                    <a:lnTo>
                      <a:pt x="26" y="99"/>
                    </a:lnTo>
                    <a:lnTo>
                      <a:pt x="28" y="96"/>
                    </a:lnTo>
                    <a:lnTo>
                      <a:pt x="38" y="94"/>
                    </a:lnTo>
                    <a:lnTo>
                      <a:pt x="46" y="92"/>
                    </a:lnTo>
                    <a:lnTo>
                      <a:pt x="55" y="91"/>
                    </a:lnTo>
                    <a:lnTo>
                      <a:pt x="55" y="91"/>
                    </a:lnTo>
                    <a:lnTo>
                      <a:pt x="75" y="94"/>
                    </a:lnTo>
                    <a:lnTo>
                      <a:pt x="99" y="98"/>
                    </a:lnTo>
                    <a:lnTo>
                      <a:pt x="99" y="98"/>
                    </a:lnTo>
                    <a:lnTo>
                      <a:pt x="97" y="121"/>
                    </a:lnTo>
                    <a:lnTo>
                      <a:pt x="94" y="143"/>
                    </a:lnTo>
                    <a:lnTo>
                      <a:pt x="94" y="143"/>
                    </a:lnTo>
                    <a:close/>
                    <a:moveTo>
                      <a:pt x="218" y="130"/>
                    </a:moveTo>
                    <a:lnTo>
                      <a:pt x="218" y="130"/>
                    </a:lnTo>
                    <a:lnTo>
                      <a:pt x="203" y="121"/>
                    </a:lnTo>
                    <a:lnTo>
                      <a:pt x="203" y="121"/>
                    </a:lnTo>
                    <a:lnTo>
                      <a:pt x="189" y="114"/>
                    </a:lnTo>
                    <a:lnTo>
                      <a:pt x="189" y="11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8" y="130"/>
                    </a:lnTo>
                    <a:lnTo>
                      <a:pt x="218" y="130"/>
                    </a:lnTo>
                    <a:close/>
                    <a:moveTo>
                      <a:pt x="167" y="20"/>
                    </a:moveTo>
                    <a:lnTo>
                      <a:pt x="167" y="20"/>
                    </a:lnTo>
                    <a:lnTo>
                      <a:pt x="172" y="21"/>
                    </a:lnTo>
                    <a:lnTo>
                      <a:pt x="177" y="24"/>
                    </a:lnTo>
                    <a:lnTo>
                      <a:pt x="184" y="29"/>
                    </a:lnTo>
                    <a:lnTo>
                      <a:pt x="189" y="37"/>
                    </a:lnTo>
                    <a:lnTo>
                      <a:pt x="195" y="47"/>
                    </a:lnTo>
                    <a:lnTo>
                      <a:pt x="200" y="57"/>
                    </a:lnTo>
                    <a:lnTo>
                      <a:pt x="204" y="71"/>
                    </a:lnTo>
                    <a:lnTo>
                      <a:pt x="210" y="84"/>
                    </a:lnTo>
                    <a:lnTo>
                      <a:pt x="210" y="84"/>
                    </a:lnTo>
                    <a:lnTo>
                      <a:pt x="188" y="92"/>
                    </a:lnTo>
                    <a:lnTo>
                      <a:pt x="167" y="102"/>
                    </a:lnTo>
                    <a:lnTo>
                      <a:pt x="167" y="102"/>
                    </a:lnTo>
                    <a:lnTo>
                      <a:pt x="145" y="92"/>
                    </a:lnTo>
                    <a:lnTo>
                      <a:pt x="124" y="84"/>
                    </a:lnTo>
                    <a:lnTo>
                      <a:pt x="124" y="84"/>
                    </a:lnTo>
                    <a:lnTo>
                      <a:pt x="128" y="71"/>
                    </a:lnTo>
                    <a:lnTo>
                      <a:pt x="133" y="57"/>
                    </a:lnTo>
                    <a:lnTo>
                      <a:pt x="137" y="47"/>
                    </a:lnTo>
                    <a:lnTo>
                      <a:pt x="142" y="37"/>
                    </a:lnTo>
                    <a:lnTo>
                      <a:pt x="149" y="29"/>
                    </a:lnTo>
                    <a:lnTo>
                      <a:pt x="154" y="24"/>
                    </a:lnTo>
                    <a:lnTo>
                      <a:pt x="160" y="21"/>
                    </a:lnTo>
                    <a:lnTo>
                      <a:pt x="167" y="20"/>
                    </a:lnTo>
                    <a:lnTo>
                      <a:pt x="167" y="20"/>
                    </a:lnTo>
                    <a:close/>
                    <a:moveTo>
                      <a:pt x="120" y="104"/>
                    </a:moveTo>
                    <a:lnTo>
                      <a:pt x="120" y="104"/>
                    </a:lnTo>
                    <a:lnTo>
                      <a:pt x="144" y="114"/>
                    </a:lnTo>
                    <a:lnTo>
                      <a:pt x="144" y="114"/>
                    </a:lnTo>
                    <a:lnTo>
                      <a:pt x="129" y="121"/>
                    </a:lnTo>
                    <a:lnTo>
                      <a:pt x="129" y="121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20" y="104"/>
                    </a:lnTo>
                    <a:lnTo>
                      <a:pt x="120" y="104"/>
                    </a:lnTo>
                    <a:close/>
                    <a:moveTo>
                      <a:pt x="114" y="241"/>
                    </a:moveTo>
                    <a:lnTo>
                      <a:pt x="114" y="241"/>
                    </a:lnTo>
                    <a:lnTo>
                      <a:pt x="129" y="250"/>
                    </a:lnTo>
                    <a:lnTo>
                      <a:pt x="129" y="250"/>
                    </a:lnTo>
                    <a:lnTo>
                      <a:pt x="144" y="258"/>
                    </a:lnTo>
                    <a:lnTo>
                      <a:pt x="144" y="258"/>
                    </a:lnTo>
                    <a:lnTo>
                      <a:pt x="120" y="267"/>
                    </a:lnTo>
                    <a:lnTo>
                      <a:pt x="120" y="267"/>
                    </a:lnTo>
                    <a:lnTo>
                      <a:pt x="114" y="241"/>
                    </a:lnTo>
                    <a:lnTo>
                      <a:pt x="114" y="241"/>
                    </a:lnTo>
                    <a:close/>
                    <a:moveTo>
                      <a:pt x="167" y="352"/>
                    </a:moveTo>
                    <a:lnTo>
                      <a:pt x="167" y="352"/>
                    </a:lnTo>
                    <a:lnTo>
                      <a:pt x="160" y="350"/>
                    </a:lnTo>
                    <a:lnTo>
                      <a:pt x="154" y="348"/>
                    </a:lnTo>
                    <a:lnTo>
                      <a:pt x="149" y="342"/>
                    </a:lnTo>
                    <a:lnTo>
                      <a:pt x="142" y="334"/>
                    </a:lnTo>
                    <a:lnTo>
                      <a:pt x="137" y="325"/>
                    </a:lnTo>
                    <a:lnTo>
                      <a:pt x="133" y="314"/>
                    </a:lnTo>
                    <a:lnTo>
                      <a:pt x="128" y="301"/>
                    </a:lnTo>
                    <a:lnTo>
                      <a:pt x="124" y="287"/>
                    </a:lnTo>
                    <a:lnTo>
                      <a:pt x="124" y="287"/>
                    </a:lnTo>
                    <a:lnTo>
                      <a:pt x="145" y="279"/>
                    </a:lnTo>
                    <a:lnTo>
                      <a:pt x="167" y="270"/>
                    </a:lnTo>
                    <a:lnTo>
                      <a:pt x="167" y="270"/>
                    </a:lnTo>
                    <a:lnTo>
                      <a:pt x="188" y="279"/>
                    </a:lnTo>
                    <a:lnTo>
                      <a:pt x="210" y="287"/>
                    </a:lnTo>
                    <a:lnTo>
                      <a:pt x="210" y="287"/>
                    </a:lnTo>
                    <a:lnTo>
                      <a:pt x="204" y="301"/>
                    </a:lnTo>
                    <a:lnTo>
                      <a:pt x="200" y="314"/>
                    </a:lnTo>
                    <a:lnTo>
                      <a:pt x="195" y="325"/>
                    </a:lnTo>
                    <a:lnTo>
                      <a:pt x="189" y="334"/>
                    </a:lnTo>
                    <a:lnTo>
                      <a:pt x="184" y="342"/>
                    </a:lnTo>
                    <a:lnTo>
                      <a:pt x="177" y="348"/>
                    </a:lnTo>
                    <a:lnTo>
                      <a:pt x="172" y="350"/>
                    </a:lnTo>
                    <a:lnTo>
                      <a:pt x="167" y="352"/>
                    </a:lnTo>
                    <a:lnTo>
                      <a:pt x="167" y="352"/>
                    </a:lnTo>
                    <a:close/>
                    <a:moveTo>
                      <a:pt x="214" y="267"/>
                    </a:moveTo>
                    <a:lnTo>
                      <a:pt x="214" y="267"/>
                    </a:lnTo>
                    <a:lnTo>
                      <a:pt x="189" y="258"/>
                    </a:lnTo>
                    <a:lnTo>
                      <a:pt x="189" y="258"/>
                    </a:lnTo>
                    <a:lnTo>
                      <a:pt x="203" y="250"/>
                    </a:lnTo>
                    <a:lnTo>
                      <a:pt x="203" y="250"/>
                    </a:lnTo>
                    <a:lnTo>
                      <a:pt x="218" y="241"/>
                    </a:lnTo>
                    <a:lnTo>
                      <a:pt x="218" y="241"/>
                    </a:lnTo>
                    <a:lnTo>
                      <a:pt x="214" y="267"/>
                    </a:lnTo>
                    <a:lnTo>
                      <a:pt x="214" y="267"/>
                    </a:lnTo>
                    <a:close/>
                    <a:moveTo>
                      <a:pt x="220" y="217"/>
                    </a:moveTo>
                    <a:lnTo>
                      <a:pt x="220" y="217"/>
                    </a:lnTo>
                    <a:lnTo>
                      <a:pt x="193" y="233"/>
                    </a:lnTo>
                    <a:lnTo>
                      <a:pt x="193" y="233"/>
                    </a:lnTo>
                    <a:lnTo>
                      <a:pt x="167" y="248"/>
                    </a:lnTo>
                    <a:lnTo>
                      <a:pt x="167" y="248"/>
                    </a:lnTo>
                    <a:lnTo>
                      <a:pt x="138" y="233"/>
                    </a:lnTo>
                    <a:lnTo>
                      <a:pt x="138" y="233"/>
                    </a:lnTo>
                    <a:lnTo>
                      <a:pt x="113" y="217"/>
                    </a:lnTo>
                    <a:lnTo>
                      <a:pt x="113" y="217"/>
                    </a:lnTo>
                    <a:lnTo>
                      <a:pt x="111" y="185"/>
                    </a:lnTo>
                    <a:lnTo>
                      <a:pt x="111" y="185"/>
                    </a:lnTo>
                    <a:lnTo>
                      <a:pt x="113" y="154"/>
                    </a:lnTo>
                    <a:lnTo>
                      <a:pt x="113" y="15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67" y="123"/>
                    </a:lnTo>
                    <a:lnTo>
                      <a:pt x="167" y="123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220" y="154"/>
                    </a:lnTo>
                    <a:lnTo>
                      <a:pt x="220" y="154"/>
                    </a:lnTo>
                    <a:lnTo>
                      <a:pt x="220" y="185"/>
                    </a:lnTo>
                    <a:lnTo>
                      <a:pt x="220" y="185"/>
                    </a:lnTo>
                    <a:lnTo>
                      <a:pt x="220" y="217"/>
                    </a:lnTo>
                    <a:lnTo>
                      <a:pt x="220" y="217"/>
                    </a:lnTo>
                    <a:close/>
                    <a:moveTo>
                      <a:pt x="278" y="91"/>
                    </a:moveTo>
                    <a:lnTo>
                      <a:pt x="278" y="91"/>
                    </a:lnTo>
                    <a:lnTo>
                      <a:pt x="286" y="92"/>
                    </a:lnTo>
                    <a:lnTo>
                      <a:pt x="295" y="94"/>
                    </a:lnTo>
                    <a:lnTo>
                      <a:pt x="304" y="96"/>
                    </a:lnTo>
                    <a:lnTo>
                      <a:pt x="308" y="99"/>
                    </a:lnTo>
                    <a:lnTo>
                      <a:pt x="310" y="103"/>
                    </a:lnTo>
                    <a:lnTo>
                      <a:pt x="310" y="103"/>
                    </a:lnTo>
                    <a:lnTo>
                      <a:pt x="312" y="107"/>
                    </a:lnTo>
                    <a:lnTo>
                      <a:pt x="312" y="113"/>
                    </a:lnTo>
                    <a:lnTo>
                      <a:pt x="312" y="118"/>
                    </a:lnTo>
                    <a:lnTo>
                      <a:pt x="309" y="125"/>
                    </a:lnTo>
                    <a:lnTo>
                      <a:pt x="306" y="133"/>
                    </a:lnTo>
                    <a:lnTo>
                      <a:pt x="301" y="139"/>
                    </a:lnTo>
                    <a:lnTo>
                      <a:pt x="289" y="157"/>
                    </a:lnTo>
                    <a:lnTo>
                      <a:pt x="289" y="157"/>
                    </a:lnTo>
                    <a:lnTo>
                      <a:pt x="275" y="172"/>
                    </a:lnTo>
                    <a:lnTo>
                      <a:pt x="275" y="172"/>
                    </a:lnTo>
                    <a:lnTo>
                      <a:pt x="258" y="158"/>
                    </a:lnTo>
                    <a:lnTo>
                      <a:pt x="239" y="143"/>
                    </a:lnTo>
                    <a:lnTo>
                      <a:pt x="239" y="143"/>
                    </a:lnTo>
                    <a:lnTo>
                      <a:pt x="236" y="121"/>
                    </a:lnTo>
                    <a:lnTo>
                      <a:pt x="232" y="98"/>
                    </a:lnTo>
                    <a:lnTo>
                      <a:pt x="232" y="98"/>
                    </a:lnTo>
                    <a:lnTo>
                      <a:pt x="257" y="94"/>
                    </a:lnTo>
                    <a:lnTo>
                      <a:pt x="278" y="91"/>
                    </a:lnTo>
                    <a:lnTo>
                      <a:pt x="278" y="91"/>
                    </a:lnTo>
                    <a:close/>
                    <a:moveTo>
                      <a:pt x="240" y="169"/>
                    </a:moveTo>
                    <a:lnTo>
                      <a:pt x="240" y="169"/>
                    </a:lnTo>
                    <a:lnTo>
                      <a:pt x="261" y="185"/>
                    </a:lnTo>
                    <a:lnTo>
                      <a:pt x="261" y="185"/>
                    </a:lnTo>
                    <a:lnTo>
                      <a:pt x="240" y="203"/>
                    </a:lnTo>
                    <a:lnTo>
                      <a:pt x="240" y="203"/>
                    </a:lnTo>
                    <a:lnTo>
                      <a:pt x="240" y="185"/>
                    </a:lnTo>
                    <a:lnTo>
                      <a:pt x="240" y="185"/>
                    </a:lnTo>
                    <a:lnTo>
                      <a:pt x="240" y="169"/>
                    </a:lnTo>
                    <a:lnTo>
                      <a:pt x="240" y="169"/>
                    </a:lnTo>
                    <a:close/>
                    <a:moveTo>
                      <a:pt x="310" y="268"/>
                    </a:moveTo>
                    <a:lnTo>
                      <a:pt x="310" y="268"/>
                    </a:lnTo>
                    <a:lnTo>
                      <a:pt x="308" y="272"/>
                    </a:lnTo>
                    <a:lnTo>
                      <a:pt x="304" y="275"/>
                    </a:lnTo>
                    <a:lnTo>
                      <a:pt x="295" y="278"/>
                    </a:lnTo>
                    <a:lnTo>
                      <a:pt x="286" y="279"/>
                    </a:lnTo>
                    <a:lnTo>
                      <a:pt x="278" y="280"/>
                    </a:lnTo>
                    <a:lnTo>
                      <a:pt x="278" y="280"/>
                    </a:lnTo>
                    <a:lnTo>
                      <a:pt x="257" y="278"/>
                    </a:lnTo>
                    <a:lnTo>
                      <a:pt x="232" y="274"/>
                    </a:lnTo>
                    <a:lnTo>
                      <a:pt x="232" y="274"/>
                    </a:lnTo>
                    <a:lnTo>
                      <a:pt x="236" y="251"/>
                    </a:lnTo>
                    <a:lnTo>
                      <a:pt x="239" y="228"/>
                    </a:lnTo>
                    <a:lnTo>
                      <a:pt x="239" y="228"/>
                    </a:lnTo>
                    <a:lnTo>
                      <a:pt x="258" y="213"/>
                    </a:lnTo>
                    <a:lnTo>
                      <a:pt x="275" y="200"/>
                    </a:lnTo>
                    <a:lnTo>
                      <a:pt x="275" y="200"/>
                    </a:lnTo>
                    <a:lnTo>
                      <a:pt x="289" y="215"/>
                    </a:lnTo>
                    <a:lnTo>
                      <a:pt x="289" y="215"/>
                    </a:lnTo>
                    <a:lnTo>
                      <a:pt x="289" y="215"/>
                    </a:lnTo>
                    <a:lnTo>
                      <a:pt x="301" y="232"/>
                    </a:lnTo>
                    <a:lnTo>
                      <a:pt x="306" y="239"/>
                    </a:lnTo>
                    <a:lnTo>
                      <a:pt x="309" y="247"/>
                    </a:lnTo>
                    <a:lnTo>
                      <a:pt x="312" y="254"/>
                    </a:lnTo>
                    <a:lnTo>
                      <a:pt x="312" y="259"/>
                    </a:lnTo>
                    <a:lnTo>
                      <a:pt x="312" y="264"/>
                    </a:lnTo>
                    <a:lnTo>
                      <a:pt x="310" y="268"/>
                    </a:lnTo>
                    <a:lnTo>
                      <a:pt x="310" y="2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41" name="Gleichschenkliges Dreieck 7">
            <a:extLst>
              <a:ext uri="{FF2B5EF4-FFF2-40B4-BE49-F238E27FC236}">
                <a16:creationId xmlns:a16="http://schemas.microsoft.com/office/drawing/2014/main" id="{99AF477C-819D-4EC8-ABAC-E85411ED6544}"/>
              </a:ext>
            </a:extLst>
          </p:cNvPr>
          <p:cNvSpPr/>
          <p:nvPr/>
        </p:nvSpPr>
        <p:spPr bwMode="gray">
          <a:xfrm rot="10800000">
            <a:off x="7011845" y="0"/>
            <a:ext cx="1800199" cy="6867912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AutoShape 8" descr="Circle Outline Vector SVG Icon (2) - SVG Repo">
            <a:extLst>
              <a:ext uri="{FF2B5EF4-FFF2-40B4-BE49-F238E27FC236}">
                <a16:creationId xmlns:a16="http://schemas.microsoft.com/office/drawing/2014/main" id="{99A3BE79-3D59-B08A-B4F0-B8C94DD1D3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43677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0262867-2C78-4CAD-2F5A-771945CA1F05}"/>
              </a:ext>
            </a:extLst>
          </p:cNvPr>
          <p:cNvGrpSpPr/>
          <p:nvPr/>
        </p:nvGrpSpPr>
        <p:grpSpPr>
          <a:xfrm>
            <a:off x="931914" y="2910058"/>
            <a:ext cx="5458531" cy="1366610"/>
            <a:chOff x="937822" y="2964585"/>
            <a:chExt cx="5458531" cy="136661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CF4FD059-1B6D-326F-5200-132068DD5A45}"/>
                </a:ext>
              </a:extLst>
            </p:cNvPr>
            <p:cNvGrpSpPr/>
            <p:nvPr/>
          </p:nvGrpSpPr>
          <p:grpSpPr>
            <a:xfrm>
              <a:off x="937822" y="3434268"/>
              <a:ext cx="431944" cy="431944"/>
              <a:chOff x="5977825" y="829966"/>
              <a:chExt cx="431944" cy="431944"/>
            </a:xfrm>
          </p:grpSpPr>
          <p:pic>
            <p:nvPicPr>
              <p:cNvPr id="1030" name="Picture 6" descr="Document file icon stock vector. Illustration of download - 121287116">
                <a:extLst>
                  <a:ext uri="{FF2B5EF4-FFF2-40B4-BE49-F238E27FC236}">
                    <a16:creationId xmlns:a16="http://schemas.microsoft.com/office/drawing/2014/main" id="{8BCC9AEC-9BEB-697F-6893-85157EA488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96000" y="916894"/>
                <a:ext cx="203556" cy="253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Freeform 38">
                <a:extLst>
                  <a:ext uri="{FF2B5EF4-FFF2-40B4-BE49-F238E27FC236}">
                    <a16:creationId xmlns:a16="http://schemas.microsoft.com/office/drawing/2014/main" id="{7225C01E-C617-22AC-2415-13FF176658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77825" y="829966"/>
                <a:ext cx="431944" cy="431944"/>
              </a:xfrm>
              <a:custGeom>
                <a:avLst/>
                <a:gdLst>
                  <a:gd name="T0" fmla="*/ 312 w 657"/>
                  <a:gd name="T1" fmla="*/ 657 h 657"/>
                  <a:gd name="T2" fmla="*/ 262 w 657"/>
                  <a:gd name="T3" fmla="*/ 650 h 657"/>
                  <a:gd name="T4" fmla="*/ 200 w 657"/>
                  <a:gd name="T5" fmla="*/ 632 h 657"/>
                  <a:gd name="T6" fmla="*/ 120 w 657"/>
                  <a:gd name="T7" fmla="*/ 582 h 657"/>
                  <a:gd name="T8" fmla="*/ 55 w 657"/>
                  <a:gd name="T9" fmla="*/ 512 h 657"/>
                  <a:gd name="T10" fmla="*/ 15 w 657"/>
                  <a:gd name="T11" fmla="*/ 426 h 657"/>
                  <a:gd name="T12" fmla="*/ 3 w 657"/>
                  <a:gd name="T13" fmla="*/ 379 h 657"/>
                  <a:gd name="T14" fmla="*/ 0 w 657"/>
                  <a:gd name="T15" fmla="*/ 329 h 657"/>
                  <a:gd name="T16" fmla="*/ 2 w 657"/>
                  <a:gd name="T17" fmla="*/ 296 h 657"/>
                  <a:gd name="T18" fmla="*/ 10 w 657"/>
                  <a:gd name="T19" fmla="*/ 246 h 657"/>
                  <a:gd name="T20" fmla="*/ 39 w 657"/>
                  <a:gd name="T21" fmla="*/ 172 h 657"/>
                  <a:gd name="T22" fmla="*/ 96 w 657"/>
                  <a:gd name="T23" fmla="*/ 97 h 657"/>
                  <a:gd name="T24" fmla="*/ 172 w 657"/>
                  <a:gd name="T25" fmla="*/ 39 h 657"/>
                  <a:gd name="T26" fmla="*/ 246 w 657"/>
                  <a:gd name="T27" fmla="*/ 10 h 657"/>
                  <a:gd name="T28" fmla="*/ 294 w 657"/>
                  <a:gd name="T29" fmla="*/ 2 h 657"/>
                  <a:gd name="T30" fmla="*/ 328 w 657"/>
                  <a:gd name="T31" fmla="*/ 0 h 657"/>
                  <a:gd name="T32" fmla="*/ 379 w 657"/>
                  <a:gd name="T33" fmla="*/ 4 h 657"/>
                  <a:gd name="T34" fmla="*/ 426 w 657"/>
                  <a:gd name="T35" fmla="*/ 15 h 657"/>
                  <a:gd name="T36" fmla="*/ 512 w 657"/>
                  <a:gd name="T37" fmla="*/ 57 h 657"/>
                  <a:gd name="T38" fmla="*/ 582 w 657"/>
                  <a:gd name="T39" fmla="*/ 120 h 657"/>
                  <a:gd name="T40" fmla="*/ 632 w 657"/>
                  <a:gd name="T41" fmla="*/ 200 h 657"/>
                  <a:gd name="T42" fmla="*/ 650 w 657"/>
                  <a:gd name="T43" fmla="*/ 262 h 657"/>
                  <a:gd name="T44" fmla="*/ 657 w 657"/>
                  <a:gd name="T45" fmla="*/ 312 h 657"/>
                  <a:gd name="T46" fmla="*/ 657 w 657"/>
                  <a:gd name="T47" fmla="*/ 346 h 657"/>
                  <a:gd name="T48" fmla="*/ 650 w 657"/>
                  <a:gd name="T49" fmla="*/ 395 h 657"/>
                  <a:gd name="T50" fmla="*/ 632 w 657"/>
                  <a:gd name="T51" fmla="*/ 457 h 657"/>
                  <a:gd name="T52" fmla="*/ 582 w 657"/>
                  <a:gd name="T53" fmla="*/ 538 h 657"/>
                  <a:gd name="T54" fmla="*/ 512 w 657"/>
                  <a:gd name="T55" fmla="*/ 601 h 657"/>
                  <a:gd name="T56" fmla="*/ 426 w 657"/>
                  <a:gd name="T57" fmla="*/ 642 h 657"/>
                  <a:gd name="T58" fmla="*/ 379 w 657"/>
                  <a:gd name="T59" fmla="*/ 653 h 657"/>
                  <a:gd name="T60" fmla="*/ 328 w 657"/>
                  <a:gd name="T61" fmla="*/ 657 h 657"/>
                  <a:gd name="T62" fmla="*/ 328 w 657"/>
                  <a:gd name="T63" fmla="*/ 38 h 657"/>
                  <a:gd name="T64" fmla="*/ 242 w 657"/>
                  <a:gd name="T65" fmla="*/ 51 h 657"/>
                  <a:gd name="T66" fmla="*/ 166 w 657"/>
                  <a:gd name="T67" fmla="*/ 88 h 657"/>
                  <a:gd name="T68" fmla="*/ 104 w 657"/>
                  <a:gd name="T69" fmla="*/ 144 h 657"/>
                  <a:gd name="T70" fmla="*/ 61 w 657"/>
                  <a:gd name="T71" fmla="*/ 215 h 657"/>
                  <a:gd name="T72" fmla="*/ 39 w 657"/>
                  <a:gd name="T73" fmla="*/ 298 h 657"/>
                  <a:gd name="T74" fmla="*/ 39 w 657"/>
                  <a:gd name="T75" fmla="*/ 359 h 657"/>
                  <a:gd name="T76" fmla="*/ 61 w 657"/>
                  <a:gd name="T77" fmla="*/ 442 h 657"/>
                  <a:gd name="T78" fmla="*/ 104 w 657"/>
                  <a:gd name="T79" fmla="*/ 513 h 657"/>
                  <a:gd name="T80" fmla="*/ 166 w 657"/>
                  <a:gd name="T81" fmla="*/ 570 h 657"/>
                  <a:gd name="T82" fmla="*/ 242 w 657"/>
                  <a:gd name="T83" fmla="*/ 607 h 657"/>
                  <a:gd name="T84" fmla="*/ 328 w 657"/>
                  <a:gd name="T85" fmla="*/ 620 h 657"/>
                  <a:gd name="T86" fmla="*/ 387 w 657"/>
                  <a:gd name="T87" fmla="*/ 614 h 657"/>
                  <a:gd name="T88" fmla="*/ 468 w 657"/>
                  <a:gd name="T89" fmla="*/ 585 h 657"/>
                  <a:gd name="T90" fmla="*/ 535 w 657"/>
                  <a:gd name="T91" fmla="*/ 535 h 657"/>
                  <a:gd name="T92" fmla="*/ 585 w 657"/>
                  <a:gd name="T93" fmla="*/ 468 h 657"/>
                  <a:gd name="T94" fmla="*/ 614 w 657"/>
                  <a:gd name="T95" fmla="*/ 387 h 657"/>
                  <a:gd name="T96" fmla="*/ 620 w 657"/>
                  <a:gd name="T97" fmla="*/ 329 h 657"/>
                  <a:gd name="T98" fmla="*/ 606 w 657"/>
                  <a:gd name="T99" fmla="*/ 242 h 657"/>
                  <a:gd name="T100" fmla="*/ 570 w 657"/>
                  <a:gd name="T101" fmla="*/ 166 h 657"/>
                  <a:gd name="T102" fmla="*/ 513 w 657"/>
                  <a:gd name="T103" fmla="*/ 104 h 657"/>
                  <a:gd name="T104" fmla="*/ 442 w 657"/>
                  <a:gd name="T105" fmla="*/ 61 h 657"/>
                  <a:gd name="T106" fmla="*/ 358 w 657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7">
                    <a:moveTo>
                      <a:pt x="328" y="657"/>
                    </a:moveTo>
                    <a:lnTo>
                      <a:pt x="328" y="657"/>
                    </a:lnTo>
                    <a:lnTo>
                      <a:pt x="312" y="657"/>
                    </a:lnTo>
                    <a:lnTo>
                      <a:pt x="294" y="656"/>
                    </a:lnTo>
                    <a:lnTo>
                      <a:pt x="278" y="653"/>
                    </a:lnTo>
                    <a:lnTo>
                      <a:pt x="262" y="650"/>
                    </a:lnTo>
                    <a:lnTo>
                      <a:pt x="246" y="648"/>
                    </a:lnTo>
                    <a:lnTo>
                      <a:pt x="231" y="642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1"/>
                    </a:lnTo>
                    <a:lnTo>
                      <a:pt x="120" y="582"/>
                    </a:lnTo>
                    <a:lnTo>
                      <a:pt x="96" y="562"/>
                    </a:lnTo>
                    <a:lnTo>
                      <a:pt x="76" y="538"/>
                    </a:lnTo>
                    <a:lnTo>
                      <a:pt x="55" y="512"/>
                    </a:lnTo>
                    <a:lnTo>
                      <a:pt x="39" y="485"/>
                    </a:lnTo>
                    <a:lnTo>
                      <a:pt x="26" y="457"/>
                    </a:lnTo>
                    <a:lnTo>
                      <a:pt x="15" y="426"/>
                    </a:lnTo>
                    <a:lnTo>
                      <a:pt x="10" y="411"/>
                    </a:lnTo>
                    <a:lnTo>
                      <a:pt x="7" y="395"/>
                    </a:lnTo>
                    <a:lnTo>
                      <a:pt x="3" y="379"/>
                    </a:lnTo>
                    <a:lnTo>
                      <a:pt x="2" y="362"/>
                    </a:lnTo>
                    <a:lnTo>
                      <a:pt x="0" y="346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3" y="278"/>
                    </a:lnTo>
                    <a:lnTo>
                      <a:pt x="7" y="262"/>
                    </a:lnTo>
                    <a:lnTo>
                      <a:pt x="10" y="246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5" y="145"/>
                    </a:lnTo>
                    <a:lnTo>
                      <a:pt x="76" y="120"/>
                    </a:lnTo>
                    <a:lnTo>
                      <a:pt x="96" y="97"/>
                    </a:lnTo>
                    <a:lnTo>
                      <a:pt x="120" y="76"/>
                    </a:lnTo>
                    <a:lnTo>
                      <a:pt x="145" y="57"/>
                    </a:lnTo>
                    <a:lnTo>
                      <a:pt x="172" y="39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6" y="10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2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46" y="0"/>
                    </a:lnTo>
                    <a:lnTo>
                      <a:pt x="362" y="2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0" y="10"/>
                    </a:lnTo>
                    <a:lnTo>
                      <a:pt x="426" y="15"/>
                    </a:lnTo>
                    <a:lnTo>
                      <a:pt x="457" y="26"/>
                    </a:lnTo>
                    <a:lnTo>
                      <a:pt x="485" y="39"/>
                    </a:lnTo>
                    <a:lnTo>
                      <a:pt x="512" y="57"/>
                    </a:lnTo>
                    <a:lnTo>
                      <a:pt x="538" y="76"/>
                    </a:lnTo>
                    <a:lnTo>
                      <a:pt x="560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2" y="200"/>
                    </a:lnTo>
                    <a:lnTo>
                      <a:pt x="642" y="231"/>
                    </a:lnTo>
                    <a:lnTo>
                      <a:pt x="646" y="246"/>
                    </a:lnTo>
                    <a:lnTo>
                      <a:pt x="650" y="262"/>
                    </a:lnTo>
                    <a:lnTo>
                      <a:pt x="653" y="278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6"/>
                    </a:lnTo>
                    <a:lnTo>
                      <a:pt x="656" y="362"/>
                    </a:lnTo>
                    <a:lnTo>
                      <a:pt x="653" y="379"/>
                    </a:lnTo>
                    <a:lnTo>
                      <a:pt x="650" y="395"/>
                    </a:lnTo>
                    <a:lnTo>
                      <a:pt x="646" y="411"/>
                    </a:lnTo>
                    <a:lnTo>
                      <a:pt x="642" y="426"/>
                    </a:lnTo>
                    <a:lnTo>
                      <a:pt x="632" y="457"/>
                    </a:lnTo>
                    <a:lnTo>
                      <a:pt x="618" y="485"/>
                    </a:lnTo>
                    <a:lnTo>
                      <a:pt x="601" y="512"/>
                    </a:lnTo>
                    <a:lnTo>
                      <a:pt x="582" y="538"/>
                    </a:lnTo>
                    <a:lnTo>
                      <a:pt x="560" y="562"/>
                    </a:lnTo>
                    <a:lnTo>
                      <a:pt x="538" y="582"/>
                    </a:lnTo>
                    <a:lnTo>
                      <a:pt x="512" y="601"/>
                    </a:lnTo>
                    <a:lnTo>
                      <a:pt x="485" y="618"/>
                    </a:lnTo>
                    <a:lnTo>
                      <a:pt x="457" y="632"/>
                    </a:lnTo>
                    <a:lnTo>
                      <a:pt x="426" y="642"/>
                    </a:lnTo>
                    <a:lnTo>
                      <a:pt x="410" y="648"/>
                    </a:lnTo>
                    <a:lnTo>
                      <a:pt x="395" y="650"/>
                    </a:lnTo>
                    <a:lnTo>
                      <a:pt x="379" y="653"/>
                    </a:lnTo>
                    <a:lnTo>
                      <a:pt x="362" y="656"/>
                    </a:lnTo>
                    <a:lnTo>
                      <a:pt x="346" y="657"/>
                    </a:lnTo>
                    <a:lnTo>
                      <a:pt x="328" y="657"/>
                    </a:lnTo>
                    <a:lnTo>
                      <a:pt x="328" y="657"/>
                    </a:lnTo>
                    <a:close/>
                    <a:moveTo>
                      <a:pt x="328" y="38"/>
                    </a:moveTo>
                    <a:lnTo>
                      <a:pt x="328" y="38"/>
                    </a:lnTo>
                    <a:lnTo>
                      <a:pt x="299" y="39"/>
                    </a:lnTo>
                    <a:lnTo>
                      <a:pt x="270" y="43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4"/>
                    </a:lnTo>
                    <a:lnTo>
                      <a:pt x="123" y="123"/>
                    </a:lnTo>
                    <a:lnTo>
                      <a:pt x="104" y="144"/>
                    </a:lnTo>
                    <a:lnTo>
                      <a:pt x="88" y="166"/>
                    </a:lnTo>
                    <a:lnTo>
                      <a:pt x="73" y="190"/>
                    </a:lnTo>
                    <a:lnTo>
                      <a:pt x="61" y="215"/>
                    </a:lnTo>
                    <a:lnTo>
                      <a:pt x="50" y="242"/>
                    </a:lnTo>
                    <a:lnTo>
                      <a:pt x="43" y="270"/>
                    </a:lnTo>
                    <a:lnTo>
                      <a:pt x="39" y="298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50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0"/>
                    </a:lnTo>
                    <a:lnTo>
                      <a:pt x="190" y="585"/>
                    </a:lnTo>
                    <a:lnTo>
                      <a:pt x="215" y="597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8"/>
                    </a:lnTo>
                    <a:lnTo>
                      <a:pt x="328" y="620"/>
                    </a:lnTo>
                    <a:lnTo>
                      <a:pt x="328" y="620"/>
                    </a:lnTo>
                    <a:lnTo>
                      <a:pt x="358" y="618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7"/>
                    </a:lnTo>
                    <a:lnTo>
                      <a:pt x="468" y="585"/>
                    </a:lnTo>
                    <a:lnTo>
                      <a:pt x="491" y="570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3"/>
                    </a:lnTo>
                    <a:lnTo>
                      <a:pt x="570" y="492"/>
                    </a:lnTo>
                    <a:lnTo>
                      <a:pt x="585" y="468"/>
                    </a:lnTo>
                    <a:lnTo>
                      <a:pt x="597" y="442"/>
                    </a:lnTo>
                    <a:lnTo>
                      <a:pt x="606" y="415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20" y="329"/>
                    </a:lnTo>
                    <a:lnTo>
                      <a:pt x="620" y="329"/>
                    </a:lnTo>
                    <a:lnTo>
                      <a:pt x="618" y="298"/>
                    </a:lnTo>
                    <a:lnTo>
                      <a:pt x="614" y="270"/>
                    </a:lnTo>
                    <a:lnTo>
                      <a:pt x="606" y="242"/>
                    </a:lnTo>
                    <a:lnTo>
                      <a:pt x="597" y="215"/>
                    </a:lnTo>
                    <a:lnTo>
                      <a:pt x="585" y="190"/>
                    </a:lnTo>
                    <a:lnTo>
                      <a:pt x="570" y="166"/>
                    </a:lnTo>
                    <a:lnTo>
                      <a:pt x="554" y="144"/>
                    </a:lnTo>
                    <a:lnTo>
                      <a:pt x="535" y="123"/>
                    </a:lnTo>
                    <a:lnTo>
                      <a:pt x="513" y="104"/>
                    </a:lnTo>
                    <a:lnTo>
                      <a:pt x="491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3"/>
                    </a:lnTo>
                    <a:lnTo>
                      <a:pt x="358" y="39"/>
                    </a:lnTo>
                    <a:lnTo>
                      <a:pt x="328" y="38"/>
                    </a:lnTo>
                    <a:lnTo>
                      <a:pt x="328" y="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F5C82F5-35B0-0E95-370F-10E9D72F1AAA}"/>
                </a:ext>
              </a:extLst>
            </p:cNvPr>
            <p:cNvSpPr/>
            <p:nvPr/>
          </p:nvSpPr>
          <p:spPr>
            <a:xfrm>
              <a:off x="1434021" y="2964585"/>
              <a:ext cx="4962332" cy="13666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tx1"/>
                  </a:solidFill>
                </a:rPr>
                <a:t>25-50 </a:t>
              </a:r>
              <a:r>
                <a:rPr lang="en-US" sz="1600" dirty="0">
                  <a:solidFill>
                    <a:schemeClr val="tx1"/>
                  </a:solidFill>
                </a:rPr>
                <a:t>pages pdf file for each conferen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82615" y="181938"/>
            <a:ext cx="5761085" cy="864000"/>
          </a:xfrm>
        </p:spPr>
        <p:txBody>
          <a:bodyPr>
            <a:noAutofit/>
          </a:bodyPr>
          <a:lstStyle/>
          <a:p>
            <a:r>
              <a:rPr lang="en-US" sz="3600" dirty="0"/>
              <a:t>Current EDM manual checking is time consuming </a:t>
            </a:r>
          </a:p>
        </p:txBody>
      </p:sp>
    </p:spTree>
    <p:extLst>
      <p:ext uri="{BB962C8B-B14F-4D97-AF65-F5344CB8AC3E}">
        <p14:creationId xmlns:p14="http://schemas.microsoft.com/office/powerpoint/2010/main" val="242269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gray"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800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Framework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C516E91-C29F-31D7-3D44-8EB7FE3EB4E7}"/>
              </a:ext>
            </a:extLst>
          </p:cNvPr>
          <p:cNvSpPr txBox="1"/>
          <p:nvPr/>
        </p:nvSpPr>
        <p:spPr>
          <a:xfrm>
            <a:off x="1325229" y="1250662"/>
            <a:ext cx="1865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hoto OCR Text Extraction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C7F05661-FF62-3018-D467-A2114DE8051D}"/>
              </a:ext>
            </a:extLst>
          </p:cNvPr>
          <p:cNvGrpSpPr/>
          <p:nvPr/>
        </p:nvGrpSpPr>
        <p:grpSpPr>
          <a:xfrm>
            <a:off x="970491" y="1521785"/>
            <a:ext cx="2699553" cy="258321"/>
            <a:chOff x="1961284" y="2665297"/>
            <a:chExt cx="2638668" cy="392105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A0123E8-C920-8F18-BAA6-AD658B892FC1}"/>
                </a:ext>
              </a:extLst>
            </p:cNvPr>
            <p:cNvSpPr/>
            <p:nvPr/>
          </p:nvSpPr>
          <p:spPr>
            <a:xfrm>
              <a:off x="1961284" y="2665297"/>
              <a:ext cx="2634096" cy="387033"/>
            </a:xfrm>
            <a:custGeom>
              <a:avLst/>
              <a:gdLst>
                <a:gd name="connsiteX0" fmla="*/ 0 w 2634096"/>
                <a:gd name="connsiteY0" fmla="*/ 387033 h 387033"/>
                <a:gd name="connsiteX1" fmla="*/ 955964 w 2634096"/>
                <a:gd name="connsiteY1" fmla="*/ 51926 h 387033"/>
                <a:gd name="connsiteX2" fmla="*/ 1587211 w 2634096"/>
                <a:gd name="connsiteY2" fmla="*/ 33742 h 387033"/>
                <a:gd name="connsiteX3" fmla="*/ 2634096 w 2634096"/>
                <a:gd name="connsiteY3" fmla="*/ 371446 h 38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4096" h="387033">
                  <a:moveTo>
                    <a:pt x="0" y="387033"/>
                  </a:moveTo>
                  <a:cubicBezTo>
                    <a:pt x="345714" y="248920"/>
                    <a:pt x="691429" y="110808"/>
                    <a:pt x="955964" y="51926"/>
                  </a:cubicBezTo>
                  <a:cubicBezTo>
                    <a:pt x="1220499" y="-6956"/>
                    <a:pt x="1307522" y="-19511"/>
                    <a:pt x="1587211" y="33742"/>
                  </a:cubicBezTo>
                  <a:cubicBezTo>
                    <a:pt x="1866900" y="86995"/>
                    <a:pt x="2470872" y="300875"/>
                    <a:pt x="2634096" y="371446"/>
                  </a:cubicBezTo>
                </a:path>
              </a:pathLst>
            </a:custGeom>
            <a:noFill/>
            <a:ln w="952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ight Triangle 99">
              <a:extLst>
                <a:ext uri="{FF2B5EF4-FFF2-40B4-BE49-F238E27FC236}">
                  <a16:creationId xmlns:a16="http://schemas.microsoft.com/office/drawing/2014/main" id="{31074B1A-FF2F-AE38-AACF-F6CB695D1FA9}"/>
                </a:ext>
              </a:extLst>
            </p:cNvPr>
            <p:cNvSpPr/>
            <p:nvPr/>
          </p:nvSpPr>
          <p:spPr>
            <a:xfrm rot="13780910">
              <a:off x="4540571" y="2998021"/>
              <a:ext cx="69397" cy="49365"/>
            </a:xfrm>
            <a:prstGeom prst="rtTriangle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4EFD4486-4685-1880-A894-E04497F0B17C}"/>
              </a:ext>
            </a:extLst>
          </p:cNvPr>
          <p:cNvSpPr txBox="1"/>
          <p:nvPr/>
        </p:nvSpPr>
        <p:spPr>
          <a:xfrm>
            <a:off x="1145615" y="2175325"/>
            <a:ext cx="2344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igh Resolution Image Extraction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1865B7BA-DFAC-741D-9505-16A118BD7F04}"/>
              </a:ext>
            </a:extLst>
          </p:cNvPr>
          <p:cNvCxnSpPr>
            <a:cxnSpLocks/>
          </p:cNvCxnSpPr>
          <p:nvPr/>
        </p:nvCxnSpPr>
        <p:spPr bwMode="gray">
          <a:xfrm>
            <a:off x="4802056" y="1838049"/>
            <a:ext cx="786635" cy="0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71CDE621-54E4-38D4-2B45-E8DC5AD33E1D}"/>
              </a:ext>
            </a:extLst>
          </p:cNvPr>
          <p:cNvGrpSpPr/>
          <p:nvPr/>
        </p:nvGrpSpPr>
        <p:grpSpPr>
          <a:xfrm>
            <a:off x="7301532" y="1478820"/>
            <a:ext cx="1051206" cy="1023528"/>
            <a:chOff x="8332962" y="1466588"/>
            <a:chExt cx="1051206" cy="1023528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D0B57D-2749-E523-2026-4E139B9515E2}"/>
                </a:ext>
              </a:extLst>
            </p:cNvPr>
            <p:cNvGrpSpPr/>
            <p:nvPr/>
          </p:nvGrpSpPr>
          <p:grpSpPr>
            <a:xfrm>
              <a:off x="8332962" y="1466588"/>
              <a:ext cx="1051206" cy="721141"/>
              <a:chOff x="6945467" y="2826205"/>
              <a:chExt cx="1027497" cy="721141"/>
            </a:xfrm>
          </p:grpSpPr>
          <p:pic>
            <p:nvPicPr>
              <p:cNvPr id="114" name="Picture 8" descr="Computer Icon In Flat Style Black Desktop Isolated On White Background  Stock Illustration - Download Image Now - iStock">
                <a:extLst>
                  <a:ext uri="{FF2B5EF4-FFF2-40B4-BE49-F238E27FC236}">
                    <a16:creationId xmlns:a16="http://schemas.microsoft.com/office/drawing/2014/main" id="{74740712-E204-1300-EF79-84322EA390F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622" t="19578" r="20946" b="18733"/>
              <a:stretch/>
            </p:blipFill>
            <p:spPr bwMode="auto">
              <a:xfrm>
                <a:off x="6945467" y="2826205"/>
                <a:ext cx="1027497" cy="7211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6" name="Picture 4" descr="Web Page icon PNG and SVG Vector Free Download">
                <a:extLst>
                  <a:ext uri="{FF2B5EF4-FFF2-40B4-BE49-F238E27FC236}">
                    <a16:creationId xmlns:a16="http://schemas.microsoft.com/office/drawing/2014/main" id="{A401DB1D-E7E3-C77D-B13F-303A6F039B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02478" y="2953148"/>
                <a:ext cx="313474" cy="2718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91AD5449-5A9B-5FD5-0195-DF5D2AD90710}"/>
                </a:ext>
              </a:extLst>
            </p:cNvPr>
            <p:cNvSpPr txBox="1"/>
            <p:nvPr/>
          </p:nvSpPr>
          <p:spPr>
            <a:xfrm>
              <a:off x="8425362" y="2213117"/>
              <a:ext cx="87202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Web Page</a:t>
              </a:r>
            </a:p>
          </p:txBody>
        </p:sp>
      </p:grpSp>
      <p:pic>
        <p:nvPicPr>
          <p:cNvPr id="3078" name="Picture 6">
            <a:extLst>
              <a:ext uri="{FF2B5EF4-FFF2-40B4-BE49-F238E27FC236}">
                <a16:creationId xmlns:a16="http://schemas.microsoft.com/office/drawing/2014/main" id="{F4F64D60-E489-BBB9-F9E9-8C7DF4E1F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23" y="1531468"/>
            <a:ext cx="580457" cy="648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92" name="Group 3091">
            <a:extLst>
              <a:ext uri="{FF2B5EF4-FFF2-40B4-BE49-F238E27FC236}">
                <a16:creationId xmlns:a16="http://schemas.microsoft.com/office/drawing/2014/main" id="{465D3CAD-4F18-33B2-7BA0-29808B445402}"/>
              </a:ext>
            </a:extLst>
          </p:cNvPr>
          <p:cNvGrpSpPr/>
          <p:nvPr/>
        </p:nvGrpSpPr>
        <p:grpSpPr>
          <a:xfrm>
            <a:off x="971764" y="1875892"/>
            <a:ext cx="2694876" cy="277124"/>
            <a:chOff x="1851091" y="4195226"/>
            <a:chExt cx="2634096" cy="277124"/>
          </a:xfrm>
        </p:grpSpPr>
        <p:sp>
          <p:nvSpPr>
            <p:cNvPr id="3077" name="Freeform: Shape 3076">
              <a:extLst>
                <a:ext uri="{FF2B5EF4-FFF2-40B4-BE49-F238E27FC236}">
                  <a16:creationId xmlns:a16="http://schemas.microsoft.com/office/drawing/2014/main" id="{0C426F88-C9B4-6AE2-D899-11D0BA0B9F19}"/>
                </a:ext>
              </a:extLst>
            </p:cNvPr>
            <p:cNvSpPr/>
            <p:nvPr/>
          </p:nvSpPr>
          <p:spPr>
            <a:xfrm rot="10800000">
              <a:off x="1851091" y="4217370"/>
              <a:ext cx="2634096" cy="254980"/>
            </a:xfrm>
            <a:custGeom>
              <a:avLst/>
              <a:gdLst>
                <a:gd name="connsiteX0" fmla="*/ 0 w 2634096"/>
                <a:gd name="connsiteY0" fmla="*/ 387033 h 387033"/>
                <a:gd name="connsiteX1" fmla="*/ 955964 w 2634096"/>
                <a:gd name="connsiteY1" fmla="*/ 51926 h 387033"/>
                <a:gd name="connsiteX2" fmla="*/ 1587211 w 2634096"/>
                <a:gd name="connsiteY2" fmla="*/ 33742 h 387033"/>
                <a:gd name="connsiteX3" fmla="*/ 2634096 w 2634096"/>
                <a:gd name="connsiteY3" fmla="*/ 371446 h 38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4096" h="387033">
                  <a:moveTo>
                    <a:pt x="0" y="387033"/>
                  </a:moveTo>
                  <a:cubicBezTo>
                    <a:pt x="345714" y="248920"/>
                    <a:pt x="691429" y="110808"/>
                    <a:pt x="955964" y="51926"/>
                  </a:cubicBezTo>
                  <a:cubicBezTo>
                    <a:pt x="1220499" y="-6956"/>
                    <a:pt x="1307522" y="-19511"/>
                    <a:pt x="1587211" y="33742"/>
                  </a:cubicBezTo>
                  <a:cubicBezTo>
                    <a:pt x="1866900" y="86995"/>
                    <a:pt x="2470872" y="300875"/>
                    <a:pt x="2634096" y="371446"/>
                  </a:cubicBezTo>
                </a:path>
              </a:pathLst>
            </a:custGeom>
            <a:noFill/>
            <a:ln w="952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1" name="Right Triangle 3080">
              <a:extLst>
                <a:ext uri="{FF2B5EF4-FFF2-40B4-BE49-F238E27FC236}">
                  <a16:creationId xmlns:a16="http://schemas.microsoft.com/office/drawing/2014/main" id="{186AC199-D851-4E00-88AC-E9ED1194D1BB}"/>
                </a:ext>
              </a:extLst>
            </p:cNvPr>
            <p:cNvSpPr/>
            <p:nvPr/>
          </p:nvSpPr>
          <p:spPr>
            <a:xfrm rot="13029570">
              <a:off x="4439309" y="4195226"/>
              <a:ext cx="45719" cy="49365"/>
            </a:xfrm>
            <a:prstGeom prst="rtTriangle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83" name="Group 3082">
            <a:extLst>
              <a:ext uri="{FF2B5EF4-FFF2-40B4-BE49-F238E27FC236}">
                <a16:creationId xmlns:a16="http://schemas.microsoft.com/office/drawing/2014/main" id="{FCEFC762-36D8-E67C-A356-5095E0A67B3A}"/>
              </a:ext>
            </a:extLst>
          </p:cNvPr>
          <p:cNvGrpSpPr/>
          <p:nvPr/>
        </p:nvGrpSpPr>
        <p:grpSpPr>
          <a:xfrm>
            <a:off x="5623767" y="1556385"/>
            <a:ext cx="576326" cy="563328"/>
            <a:chOff x="7649686" y="2791782"/>
            <a:chExt cx="563328" cy="563328"/>
          </a:xfrm>
        </p:grpSpPr>
        <p:pic>
          <p:nvPicPr>
            <p:cNvPr id="3084" name="Graphic 3083" descr="Document outline">
              <a:extLst>
                <a:ext uri="{FF2B5EF4-FFF2-40B4-BE49-F238E27FC236}">
                  <a16:creationId xmlns:a16="http://schemas.microsoft.com/office/drawing/2014/main" id="{70012271-C1C7-12D6-EF54-D93B8112B4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649686" y="2791782"/>
              <a:ext cx="563328" cy="563328"/>
            </a:xfrm>
            <a:prstGeom prst="rect">
              <a:avLst/>
            </a:prstGeom>
          </p:spPr>
        </p:pic>
        <p:sp>
          <p:nvSpPr>
            <p:cNvPr id="3085" name="Rectangle 3084">
              <a:extLst>
                <a:ext uri="{FF2B5EF4-FFF2-40B4-BE49-F238E27FC236}">
                  <a16:creationId xmlns:a16="http://schemas.microsoft.com/office/drawing/2014/main" id="{12ACA131-1BE2-2E47-FBBB-5F100B42A74B}"/>
                </a:ext>
              </a:extLst>
            </p:cNvPr>
            <p:cNvSpPr/>
            <p:nvPr/>
          </p:nvSpPr>
          <p:spPr bwMode="gray">
            <a:xfrm>
              <a:off x="7803387" y="3028265"/>
              <a:ext cx="255926" cy="45719"/>
            </a:xfrm>
            <a:prstGeom prst="rect">
              <a:avLst/>
            </a:prstGeom>
            <a:noFill/>
            <a:ln w="19050">
              <a:solidFill>
                <a:srgbClr val="FF31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086" name="Straight Arrow Connector 3085">
            <a:extLst>
              <a:ext uri="{FF2B5EF4-FFF2-40B4-BE49-F238E27FC236}">
                <a16:creationId xmlns:a16="http://schemas.microsoft.com/office/drawing/2014/main" id="{F76DBB33-E375-70B6-191A-4E2D06199BA3}"/>
              </a:ext>
            </a:extLst>
          </p:cNvPr>
          <p:cNvCxnSpPr>
            <a:cxnSpLocks/>
            <a:stCxn id="3084" idx="3"/>
            <a:endCxn id="114" idx="1"/>
          </p:cNvCxnSpPr>
          <p:nvPr/>
        </p:nvCxnSpPr>
        <p:spPr bwMode="gray">
          <a:xfrm>
            <a:off x="6200093" y="1838049"/>
            <a:ext cx="1101439" cy="1342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7" name="TextBox 3086">
            <a:extLst>
              <a:ext uri="{FF2B5EF4-FFF2-40B4-BE49-F238E27FC236}">
                <a16:creationId xmlns:a16="http://schemas.microsoft.com/office/drawing/2014/main" id="{473C5067-E633-1DF1-E55D-8149B492BC7B}"/>
              </a:ext>
            </a:extLst>
          </p:cNvPr>
          <p:cNvSpPr txBox="1"/>
          <p:nvPr/>
        </p:nvSpPr>
        <p:spPr>
          <a:xfrm>
            <a:off x="6126626" y="1499766"/>
            <a:ext cx="11685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Processing</a:t>
            </a:r>
          </a:p>
        </p:txBody>
      </p:sp>
      <p:sp>
        <p:nvSpPr>
          <p:cNvPr id="3089" name="TextBox 3088">
            <a:extLst>
              <a:ext uri="{FF2B5EF4-FFF2-40B4-BE49-F238E27FC236}">
                <a16:creationId xmlns:a16="http://schemas.microsoft.com/office/drawing/2014/main" id="{D990BBD4-B8AE-955E-CC57-9EF9D893A9AB}"/>
              </a:ext>
            </a:extLst>
          </p:cNvPr>
          <p:cNvSpPr txBox="1"/>
          <p:nvPr/>
        </p:nvSpPr>
        <p:spPr>
          <a:xfrm>
            <a:off x="5205002" y="2119713"/>
            <a:ext cx="14138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hatGPT Response (T</a:t>
            </a:r>
            <a:r>
              <a:rPr lang="en-US" altLang="zh-CN" sz="1200" dirty="0"/>
              <a:t>ext/</a:t>
            </a:r>
            <a:r>
              <a:rPr lang="en-US" sz="1200" dirty="0"/>
              <a:t>Code)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2A47814-D72D-E121-1BBE-864B215B056B}"/>
              </a:ext>
            </a:extLst>
          </p:cNvPr>
          <p:cNvGrpSpPr/>
          <p:nvPr/>
        </p:nvGrpSpPr>
        <p:grpSpPr>
          <a:xfrm>
            <a:off x="3725103" y="1515091"/>
            <a:ext cx="1051206" cy="959499"/>
            <a:chOff x="3885913" y="3090405"/>
            <a:chExt cx="1051206" cy="959499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E4A2CF8-DB2A-8328-A3A0-27F5C0AE2E8D}"/>
                </a:ext>
              </a:extLst>
            </p:cNvPr>
            <p:cNvGrpSpPr/>
            <p:nvPr/>
          </p:nvGrpSpPr>
          <p:grpSpPr>
            <a:xfrm>
              <a:off x="3885913" y="3090405"/>
              <a:ext cx="1051206" cy="721141"/>
              <a:chOff x="5011572" y="2475640"/>
              <a:chExt cx="758134" cy="527706"/>
            </a:xfrm>
          </p:grpSpPr>
          <p:pic>
            <p:nvPicPr>
              <p:cNvPr id="20" name="Picture 8" descr="Computer Icon In Flat Style Black Desktop Isolated On White Background  Stock Illustration - Download Image Now - iStock">
                <a:extLst>
                  <a:ext uri="{FF2B5EF4-FFF2-40B4-BE49-F238E27FC236}">
                    <a16:creationId xmlns:a16="http://schemas.microsoft.com/office/drawing/2014/main" id="{9576DAEA-09F8-FCF0-9DF5-32D8BF7049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622" t="19578" r="20946" b="18733"/>
              <a:stretch/>
            </p:blipFill>
            <p:spPr bwMode="auto">
              <a:xfrm>
                <a:off x="5011572" y="2475640"/>
                <a:ext cx="758134" cy="5277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4" name="Picture 2" descr="ChatGPT Logo and symbol, meaning, history, PNG, brand">
                <a:extLst>
                  <a:ext uri="{FF2B5EF4-FFF2-40B4-BE49-F238E27FC236}">
                    <a16:creationId xmlns:a16="http://schemas.microsoft.com/office/drawing/2014/main" id="{3056172D-CF96-BC5F-C0D8-F89EF7493D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366" r="19114"/>
              <a:stretch/>
            </p:blipFill>
            <p:spPr bwMode="auto">
              <a:xfrm>
                <a:off x="5270235" y="2573796"/>
                <a:ext cx="239981" cy="2149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10" name="TextBox 3109">
              <a:extLst>
                <a:ext uri="{FF2B5EF4-FFF2-40B4-BE49-F238E27FC236}">
                  <a16:creationId xmlns:a16="http://schemas.microsoft.com/office/drawing/2014/main" id="{BB4211AC-ED94-A299-084E-B935D4658782}"/>
                </a:ext>
              </a:extLst>
            </p:cNvPr>
            <p:cNvSpPr txBox="1"/>
            <p:nvPr/>
          </p:nvSpPr>
          <p:spPr>
            <a:xfrm>
              <a:off x="3939197" y="3772905"/>
              <a:ext cx="943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ChatGPT-4o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1CCBABD-F013-2A63-0236-6A4F3E2B589A}"/>
              </a:ext>
            </a:extLst>
          </p:cNvPr>
          <p:cNvGrpSpPr/>
          <p:nvPr/>
        </p:nvGrpSpPr>
        <p:grpSpPr>
          <a:xfrm>
            <a:off x="9222508" y="1636133"/>
            <a:ext cx="2533930" cy="705325"/>
            <a:chOff x="9043791" y="1629412"/>
            <a:chExt cx="2533930" cy="705325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B3ECA57-4E62-3C5D-2BC8-4853934A53D5}"/>
                </a:ext>
              </a:extLst>
            </p:cNvPr>
            <p:cNvSpPr/>
            <p:nvPr/>
          </p:nvSpPr>
          <p:spPr>
            <a:xfrm>
              <a:off x="9200960" y="1629412"/>
              <a:ext cx="106076" cy="25004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Text Placeholder 3">
              <a:extLst>
                <a:ext uri="{FF2B5EF4-FFF2-40B4-BE49-F238E27FC236}">
                  <a16:creationId xmlns:a16="http://schemas.microsoft.com/office/drawing/2014/main" id="{2B6B7ADA-7802-0312-E8D8-0B8BC65FE4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043791" y="1673286"/>
              <a:ext cx="2533930" cy="661451"/>
            </a:xfrm>
            <a:prstGeom prst="rect">
              <a:avLst/>
            </a:prstGeom>
            <a:ln>
              <a:noFill/>
            </a:ln>
          </p:spPr>
          <p:txBody>
            <a:bodyPr vert="horz" lIns="35995" tIns="0" rIns="35995" bIns="0" rtlCol="0" anchor="t">
              <a:noAutofit/>
            </a:bodyPr>
            <a:lstStyle/>
            <a:p>
              <a:pPr algn="ctr" defTabSz="914309"/>
              <a:r>
                <a:rPr lang="en-US" sz="12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iciency: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uce labor cost of conference invoice files auditing. Increase the efficiency by </a:t>
              </a:r>
              <a:r>
                <a:rPr lang="en-US" sz="1200" b="1" dirty="0">
                  <a:solidFill>
                    <a:srgbClr val="000000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50%+</a:t>
              </a:r>
            </a:p>
            <a:p>
              <a:pPr algn="ctr" defTabSz="914309"/>
              <a:endPara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49431F9-9561-441B-3FC7-407348ED4786}"/>
              </a:ext>
            </a:extLst>
          </p:cNvPr>
          <p:cNvCxnSpPr>
            <a:cxnSpLocks/>
          </p:cNvCxnSpPr>
          <p:nvPr/>
        </p:nvCxnSpPr>
        <p:spPr>
          <a:xfrm>
            <a:off x="8832538" y="495228"/>
            <a:ext cx="15270" cy="575395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DFAD27CD-A38E-1B25-7DBB-87737146D860}"/>
              </a:ext>
            </a:extLst>
          </p:cNvPr>
          <p:cNvSpPr/>
          <p:nvPr/>
        </p:nvSpPr>
        <p:spPr>
          <a:xfrm>
            <a:off x="8774393" y="1680089"/>
            <a:ext cx="106076" cy="942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myP_Money">
            <a:extLst>
              <a:ext uri="{FF2B5EF4-FFF2-40B4-BE49-F238E27FC236}">
                <a16:creationId xmlns:a16="http://schemas.microsoft.com/office/drawing/2014/main" id="{4FC6FA28-452D-6B82-E754-0671352CC426}"/>
              </a:ext>
            </a:extLst>
          </p:cNvPr>
          <p:cNvGrpSpPr>
            <a:grpSpLocks noChangeAspect="1"/>
          </p:cNvGrpSpPr>
          <p:nvPr/>
        </p:nvGrpSpPr>
        <p:grpSpPr>
          <a:xfrm>
            <a:off x="10212252" y="1136984"/>
            <a:ext cx="485536" cy="382024"/>
            <a:chOff x="7975454" y="2785688"/>
            <a:chExt cx="2062209" cy="1622562"/>
          </a:xfrm>
          <a:solidFill>
            <a:schemeClr val="tx1"/>
          </a:solidFill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2210C36-F7EF-818D-31CC-04D82B853119}"/>
                </a:ext>
              </a:extLst>
            </p:cNvPr>
            <p:cNvGrpSpPr/>
            <p:nvPr/>
          </p:nvGrpSpPr>
          <p:grpSpPr>
            <a:xfrm>
              <a:off x="8452010" y="3894290"/>
              <a:ext cx="424180" cy="513960"/>
              <a:chOff x="8423117" y="3929718"/>
              <a:chExt cx="424180" cy="513960"/>
            </a:xfrm>
            <a:grpFill/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DC3DFCF-C725-68E0-6C07-29C435DFB091}"/>
                  </a:ext>
                </a:extLst>
              </p:cNvPr>
              <p:cNvGrpSpPr/>
              <p:nvPr/>
            </p:nvGrpSpPr>
            <p:grpSpPr>
              <a:xfrm>
                <a:off x="8423117" y="4060599"/>
                <a:ext cx="424180" cy="383079"/>
                <a:chOff x="8608695" y="3608812"/>
                <a:chExt cx="306705" cy="218182"/>
              </a:xfrm>
              <a:grpFill/>
            </p:grpSpPr>
            <p:sp>
              <p:nvSpPr>
                <p:cNvPr id="30" name="Oval 11346">
                  <a:extLst>
                    <a:ext uri="{FF2B5EF4-FFF2-40B4-BE49-F238E27FC236}">
                      <a16:creationId xmlns:a16="http://schemas.microsoft.com/office/drawing/2014/main" id="{9AF01A99-A055-AC01-2992-14025570580E}"/>
                    </a:ext>
                  </a:extLst>
                </p:cNvPr>
                <p:cNvSpPr/>
                <p:nvPr/>
              </p:nvSpPr>
              <p:spPr bwMode="gray">
                <a:xfrm>
                  <a:off x="8608695" y="3737970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1" name="Oval 11346">
                  <a:extLst>
                    <a:ext uri="{FF2B5EF4-FFF2-40B4-BE49-F238E27FC236}">
                      <a16:creationId xmlns:a16="http://schemas.microsoft.com/office/drawing/2014/main" id="{ABB871D8-A338-2174-1932-9ADC1B86A221}"/>
                    </a:ext>
                  </a:extLst>
                </p:cNvPr>
                <p:cNvSpPr/>
                <p:nvPr/>
              </p:nvSpPr>
              <p:spPr bwMode="gray">
                <a:xfrm>
                  <a:off x="8608695" y="3673391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2" name="Oval 11346">
                  <a:extLst>
                    <a:ext uri="{FF2B5EF4-FFF2-40B4-BE49-F238E27FC236}">
                      <a16:creationId xmlns:a16="http://schemas.microsoft.com/office/drawing/2014/main" id="{0B9C34D3-13FE-1584-A338-A4EEC0948A1C}"/>
                    </a:ext>
                  </a:extLst>
                </p:cNvPr>
                <p:cNvSpPr/>
                <p:nvPr/>
              </p:nvSpPr>
              <p:spPr bwMode="gray">
                <a:xfrm>
                  <a:off x="8608695" y="3608812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36CD2CBE-B712-27C8-A666-9BD45D30E0C7}"/>
                  </a:ext>
                </a:extLst>
              </p:cNvPr>
              <p:cNvSpPr/>
              <p:nvPr/>
            </p:nvSpPr>
            <p:spPr bwMode="gray">
              <a:xfrm>
                <a:off x="8423118" y="3929718"/>
                <a:ext cx="424178" cy="1956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9926CD2-CD59-0F7A-FA69-81AF8A9A4FF3}"/>
                </a:ext>
              </a:extLst>
            </p:cNvPr>
            <p:cNvGrpSpPr/>
            <p:nvPr/>
          </p:nvGrpSpPr>
          <p:grpSpPr>
            <a:xfrm>
              <a:off x="7975454" y="3584576"/>
              <a:ext cx="424180" cy="627337"/>
              <a:chOff x="8608696" y="3477937"/>
              <a:chExt cx="424180" cy="627337"/>
            </a:xfrm>
            <a:grpFill/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EE1D3C46-F918-66FE-2BC4-12E4C0F3CA95}"/>
                  </a:ext>
                </a:extLst>
              </p:cNvPr>
              <p:cNvGrpSpPr/>
              <p:nvPr/>
            </p:nvGrpSpPr>
            <p:grpSpPr>
              <a:xfrm>
                <a:off x="8608696" y="3608811"/>
                <a:ext cx="424180" cy="496463"/>
                <a:chOff x="8608695" y="3608812"/>
                <a:chExt cx="306705" cy="282760"/>
              </a:xfrm>
              <a:grpFill/>
            </p:grpSpPr>
            <p:sp>
              <p:nvSpPr>
                <p:cNvPr id="24" name="Oval 11346">
                  <a:extLst>
                    <a:ext uri="{FF2B5EF4-FFF2-40B4-BE49-F238E27FC236}">
                      <a16:creationId xmlns:a16="http://schemas.microsoft.com/office/drawing/2014/main" id="{C3A52A3A-5591-61C1-2B4D-91788267432F}"/>
                    </a:ext>
                  </a:extLst>
                </p:cNvPr>
                <p:cNvSpPr/>
                <p:nvPr/>
              </p:nvSpPr>
              <p:spPr bwMode="gray">
                <a:xfrm>
                  <a:off x="8608695" y="3802548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5" name="Oval 11346">
                  <a:extLst>
                    <a:ext uri="{FF2B5EF4-FFF2-40B4-BE49-F238E27FC236}">
                      <a16:creationId xmlns:a16="http://schemas.microsoft.com/office/drawing/2014/main" id="{01BEAE65-4BDA-A00C-C61A-2CA1EBBDED3C}"/>
                    </a:ext>
                  </a:extLst>
                </p:cNvPr>
                <p:cNvSpPr/>
                <p:nvPr/>
              </p:nvSpPr>
              <p:spPr bwMode="gray">
                <a:xfrm>
                  <a:off x="8608695" y="3737970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Oval 11346">
                  <a:extLst>
                    <a:ext uri="{FF2B5EF4-FFF2-40B4-BE49-F238E27FC236}">
                      <a16:creationId xmlns:a16="http://schemas.microsoft.com/office/drawing/2014/main" id="{878D54EE-49C6-D8F8-FECD-D43BEA72182C}"/>
                    </a:ext>
                  </a:extLst>
                </p:cNvPr>
                <p:cNvSpPr/>
                <p:nvPr/>
              </p:nvSpPr>
              <p:spPr bwMode="gray">
                <a:xfrm>
                  <a:off x="8608695" y="3673391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7" name="Oval 11346">
                  <a:extLst>
                    <a:ext uri="{FF2B5EF4-FFF2-40B4-BE49-F238E27FC236}">
                      <a16:creationId xmlns:a16="http://schemas.microsoft.com/office/drawing/2014/main" id="{00ADE4A6-5057-F0E4-48EB-42D1009FBF7A}"/>
                    </a:ext>
                  </a:extLst>
                </p:cNvPr>
                <p:cNvSpPr/>
                <p:nvPr/>
              </p:nvSpPr>
              <p:spPr bwMode="gray">
                <a:xfrm>
                  <a:off x="8608695" y="3608812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6FA5272-2573-F54F-15F6-791206100A8C}"/>
                  </a:ext>
                </a:extLst>
              </p:cNvPr>
              <p:cNvSpPr/>
              <p:nvPr/>
            </p:nvSpPr>
            <p:spPr bwMode="gray">
              <a:xfrm>
                <a:off x="8608697" y="3477937"/>
                <a:ext cx="424178" cy="1956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6A66F74-1934-BE21-C57D-E01B7645B8D4}"/>
                </a:ext>
              </a:extLst>
            </p:cNvPr>
            <p:cNvGrpSpPr/>
            <p:nvPr/>
          </p:nvGrpSpPr>
          <p:grpSpPr>
            <a:xfrm>
              <a:off x="8940800" y="3926202"/>
              <a:ext cx="424180" cy="400582"/>
              <a:chOff x="8423117" y="3929718"/>
              <a:chExt cx="424180" cy="400582"/>
            </a:xfrm>
            <a:grpFill/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826C6F0E-A6E9-1C0D-2B99-D6E8C4616C94}"/>
                  </a:ext>
                </a:extLst>
              </p:cNvPr>
              <p:cNvGrpSpPr/>
              <p:nvPr/>
            </p:nvGrpSpPr>
            <p:grpSpPr>
              <a:xfrm>
                <a:off x="8423117" y="4060607"/>
                <a:ext cx="424180" cy="269693"/>
                <a:chOff x="8608695" y="3608812"/>
                <a:chExt cx="306705" cy="153603"/>
              </a:xfrm>
              <a:grpFill/>
            </p:grpSpPr>
            <p:sp>
              <p:nvSpPr>
                <p:cNvPr id="19" name="Oval 11346">
                  <a:extLst>
                    <a:ext uri="{FF2B5EF4-FFF2-40B4-BE49-F238E27FC236}">
                      <a16:creationId xmlns:a16="http://schemas.microsoft.com/office/drawing/2014/main" id="{A09E4189-75D4-9BA9-F32D-764E6FE07718}"/>
                    </a:ext>
                  </a:extLst>
                </p:cNvPr>
                <p:cNvSpPr/>
                <p:nvPr/>
              </p:nvSpPr>
              <p:spPr bwMode="gray">
                <a:xfrm>
                  <a:off x="8608695" y="3673391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1" name="Oval 11346">
                  <a:extLst>
                    <a:ext uri="{FF2B5EF4-FFF2-40B4-BE49-F238E27FC236}">
                      <a16:creationId xmlns:a16="http://schemas.microsoft.com/office/drawing/2014/main" id="{6ACB13E8-2374-8879-EC54-738046451D2E}"/>
                    </a:ext>
                  </a:extLst>
                </p:cNvPr>
                <p:cNvSpPr/>
                <p:nvPr/>
              </p:nvSpPr>
              <p:spPr bwMode="gray">
                <a:xfrm>
                  <a:off x="8608695" y="3608812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A622A32B-9FD4-D6AC-D2FF-DD3263A36DB9}"/>
                  </a:ext>
                </a:extLst>
              </p:cNvPr>
              <p:cNvSpPr/>
              <p:nvPr/>
            </p:nvSpPr>
            <p:spPr bwMode="gray">
              <a:xfrm>
                <a:off x="8423118" y="3929718"/>
                <a:ext cx="424178" cy="1956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6" name="Oval 461">
              <a:extLst>
                <a:ext uri="{FF2B5EF4-FFF2-40B4-BE49-F238E27FC236}">
                  <a16:creationId xmlns:a16="http://schemas.microsoft.com/office/drawing/2014/main" id="{CB98CF40-DEBE-55CC-A0D7-94B0B5B59A74}"/>
                </a:ext>
              </a:extLst>
            </p:cNvPr>
            <p:cNvSpPr/>
            <p:nvPr/>
          </p:nvSpPr>
          <p:spPr bwMode="gray">
            <a:xfrm rot="21194813">
              <a:off x="8399011" y="2785688"/>
              <a:ext cx="1638652" cy="1155542"/>
            </a:xfrm>
            <a:custGeom>
              <a:avLst/>
              <a:gdLst/>
              <a:ahLst/>
              <a:cxnLst/>
              <a:rect l="l" t="t" r="r" b="b"/>
              <a:pathLst>
                <a:path w="1638652" h="1155542">
                  <a:moveTo>
                    <a:pt x="1112148" y="647019"/>
                  </a:moveTo>
                  <a:cubicBezTo>
                    <a:pt x="1143541" y="650736"/>
                    <a:pt x="1165978" y="679200"/>
                    <a:pt x="1162260" y="710594"/>
                  </a:cubicBezTo>
                  <a:cubicBezTo>
                    <a:pt x="1158543" y="741988"/>
                    <a:pt x="1130079" y="764424"/>
                    <a:pt x="1098686" y="760707"/>
                  </a:cubicBezTo>
                  <a:cubicBezTo>
                    <a:pt x="1067292" y="756989"/>
                    <a:pt x="1044855" y="728525"/>
                    <a:pt x="1048573" y="697132"/>
                  </a:cubicBezTo>
                  <a:cubicBezTo>
                    <a:pt x="1052290" y="665738"/>
                    <a:pt x="1080754" y="643302"/>
                    <a:pt x="1112148" y="647019"/>
                  </a:cubicBezTo>
                  <a:close/>
                  <a:moveTo>
                    <a:pt x="423673" y="551025"/>
                  </a:moveTo>
                  <a:cubicBezTo>
                    <a:pt x="455067" y="554743"/>
                    <a:pt x="477503" y="583206"/>
                    <a:pt x="473786" y="614600"/>
                  </a:cubicBezTo>
                  <a:cubicBezTo>
                    <a:pt x="470068" y="645994"/>
                    <a:pt x="441605" y="668430"/>
                    <a:pt x="410211" y="664713"/>
                  </a:cubicBezTo>
                  <a:cubicBezTo>
                    <a:pt x="378817" y="660996"/>
                    <a:pt x="356381" y="632532"/>
                    <a:pt x="360098" y="601138"/>
                  </a:cubicBezTo>
                  <a:cubicBezTo>
                    <a:pt x="363816" y="569744"/>
                    <a:pt x="392279" y="547308"/>
                    <a:pt x="423673" y="551025"/>
                  </a:cubicBezTo>
                  <a:close/>
                  <a:moveTo>
                    <a:pt x="781808" y="491951"/>
                  </a:moveTo>
                  <a:cubicBezTo>
                    <a:pt x="695142" y="481689"/>
                    <a:pt x="616565" y="543626"/>
                    <a:pt x="606303" y="630293"/>
                  </a:cubicBezTo>
                  <a:cubicBezTo>
                    <a:pt x="596041" y="716959"/>
                    <a:pt x="657978" y="795536"/>
                    <a:pt x="744645" y="805798"/>
                  </a:cubicBezTo>
                  <a:cubicBezTo>
                    <a:pt x="831311" y="816061"/>
                    <a:pt x="909888" y="754123"/>
                    <a:pt x="920150" y="667456"/>
                  </a:cubicBezTo>
                  <a:cubicBezTo>
                    <a:pt x="930413" y="580790"/>
                    <a:pt x="868475" y="502213"/>
                    <a:pt x="781808" y="491951"/>
                  </a:cubicBezTo>
                  <a:close/>
                  <a:moveTo>
                    <a:pt x="788457" y="435792"/>
                  </a:moveTo>
                  <a:cubicBezTo>
                    <a:pt x="906139" y="449727"/>
                    <a:pt x="990242" y="556423"/>
                    <a:pt x="976307" y="674105"/>
                  </a:cubicBezTo>
                  <a:cubicBezTo>
                    <a:pt x="962372" y="791787"/>
                    <a:pt x="855676" y="875890"/>
                    <a:pt x="737994" y="861955"/>
                  </a:cubicBezTo>
                  <a:cubicBezTo>
                    <a:pt x="620312" y="848020"/>
                    <a:pt x="536209" y="741324"/>
                    <a:pt x="550144" y="623642"/>
                  </a:cubicBezTo>
                  <a:cubicBezTo>
                    <a:pt x="564079" y="505960"/>
                    <a:pt x="670776" y="421857"/>
                    <a:pt x="788457" y="435792"/>
                  </a:cubicBezTo>
                  <a:close/>
                  <a:moveTo>
                    <a:pt x="352848" y="273563"/>
                  </a:moveTo>
                  <a:cubicBezTo>
                    <a:pt x="357070" y="285228"/>
                    <a:pt x="357353" y="297709"/>
                    <a:pt x="355851" y="310390"/>
                  </a:cubicBezTo>
                  <a:cubicBezTo>
                    <a:pt x="346958" y="385491"/>
                    <a:pt x="278869" y="439162"/>
                    <a:pt x="203768" y="430270"/>
                  </a:cubicBezTo>
                  <a:lnTo>
                    <a:pt x="157792" y="415182"/>
                  </a:lnTo>
                  <a:lnTo>
                    <a:pt x="119957" y="734702"/>
                  </a:lnTo>
                  <a:cubicBezTo>
                    <a:pt x="135135" y="729909"/>
                    <a:pt x="151487" y="728793"/>
                    <a:pt x="168185" y="730770"/>
                  </a:cubicBezTo>
                  <a:cubicBezTo>
                    <a:pt x="243285" y="739663"/>
                    <a:pt x="296957" y="807753"/>
                    <a:pt x="288064" y="882853"/>
                  </a:cubicBezTo>
                  <a:cubicBezTo>
                    <a:pt x="285343" y="905835"/>
                    <a:pt x="277078" y="926810"/>
                    <a:pt x="263300" y="943585"/>
                  </a:cubicBezTo>
                  <a:lnTo>
                    <a:pt x="1180497" y="1052193"/>
                  </a:lnTo>
                  <a:cubicBezTo>
                    <a:pt x="1171018" y="1032664"/>
                    <a:pt x="1167880" y="1010339"/>
                    <a:pt x="1170601" y="987357"/>
                  </a:cubicBezTo>
                  <a:cubicBezTo>
                    <a:pt x="1179494" y="912257"/>
                    <a:pt x="1247584" y="858585"/>
                    <a:pt x="1322684" y="867478"/>
                  </a:cubicBezTo>
                  <a:lnTo>
                    <a:pt x="1368659" y="882565"/>
                  </a:lnTo>
                  <a:lnTo>
                    <a:pt x="1406494" y="563045"/>
                  </a:lnTo>
                  <a:cubicBezTo>
                    <a:pt x="1391316" y="567839"/>
                    <a:pt x="1374965" y="568954"/>
                    <a:pt x="1358267" y="566977"/>
                  </a:cubicBezTo>
                  <a:cubicBezTo>
                    <a:pt x="1283167" y="558084"/>
                    <a:pt x="1229496" y="489995"/>
                    <a:pt x="1238388" y="414894"/>
                  </a:cubicBezTo>
                  <a:lnTo>
                    <a:pt x="1249910" y="379787"/>
                  </a:lnTo>
                  <a:close/>
                  <a:moveTo>
                    <a:pt x="1372101" y="100712"/>
                  </a:moveTo>
                  <a:lnTo>
                    <a:pt x="468774" y="100712"/>
                  </a:lnTo>
                  <a:cubicBezTo>
                    <a:pt x="474339" y="111800"/>
                    <a:pt x="476085" y="124161"/>
                    <a:pt x="476087" y="136931"/>
                  </a:cubicBezTo>
                  <a:cubicBezTo>
                    <a:pt x="476087" y="154181"/>
                    <a:pt x="472897" y="170686"/>
                    <a:pt x="466610" y="185618"/>
                  </a:cubicBezTo>
                  <a:lnTo>
                    <a:pt x="837265" y="229508"/>
                  </a:lnTo>
                  <a:cubicBezTo>
                    <a:pt x="862149" y="216690"/>
                    <a:pt x="890580" y="210592"/>
                    <a:pt x="920438" y="210592"/>
                  </a:cubicBezTo>
                  <a:cubicBezTo>
                    <a:pt x="935249" y="210592"/>
                    <a:pt x="949712" y="212093"/>
                    <a:pt x="963680" y="214951"/>
                  </a:cubicBezTo>
                  <a:cubicBezTo>
                    <a:pt x="994385" y="221235"/>
                    <a:pt x="1022702" y="234076"/>
                    <a:pt x="1045167" y="254127"/>
                  </a:cubicBezTo>
                  <a:lnTo>
                    <a:pt x="1390471" y="295015"/>
                  </a:lnTo>
                  <a:lnTo>
                    <a:pt x="1526452" y="311117"/>
                  </a:lnTo>
                  <a:lnTo>
                    <a:pt x="1510350" y="447098"/>
                  </a:lnTo>
                  <a:lnTo>
                    <a:pt x="1494868" y="577845"/>
                  </a:lnTo>
                  <a:cubicBezTo>
                    <a:pt x="1497098" y="576520"/>
                    <a:pt x="1499401" y="576462"/>
                    <a:pt x="1501719" y="576462"/>
                  </a:cubicBezTo>
                  <a:lnTo>
                    <a:pt x="1549149" y="586038"/>
                  </a:lnTo>
                  <a:lnTo>
                    <a:pt x="1549151" y="264286"/>
                  </a:lnTo>
                  <a:cubicBezTo>
                    <a:pt x="1534640" y="270832"/>
                    <a:pt x="1518533" y="273862"/>
                    <a:pt x="1501721" y="273862"/>
                  </a:cubicBezTo>
                  <a:cubicBezTo>
                    <a:pt x="1426096" y="273862"/>
                    <a:pt x="1364790" y="212556"/>
                    <a:pt x="1364788" y="136931"/>
                  </a:cubicBezTo>
                  <a:close/>
                  <a:moveTo>
                    <a:pt x="1638650" y="0"/>
                  </a:moveTo>
                  <a:lnTo>
                    <a:pt x="1638650" y="136931"/>
                  </a:lnTo>
                  <a:lnTo>
                    <a:pt x="1638652" y="713393"/>
                  </a:lnTo>
                  <a:lnTo>
                    <a:pt x="1638652" y="850324"/>
                  </a:lnTo>
                  <a:lnTo>
                    <a:pt x="1501721" y="850324"/>
                  </a:lnTo>
                  <a:lnTo>
                    <a:pt x="1462603" y="850324"/>
                  </a:lnTo>
                  <a:lnTo>
                    <a:pt x="1442563" y="1019561"/>
                  </a:lnTo>
                  <a:lnTo>
                    <a:pt x="1426461" y="1155542"/>
                  </a:lnTo>
                  <a:lnTo>
                    <a:pt x="1290481" y="1139440"/>
                  </a:lnTo>
                  <a:lnTo>
                    <a:pt x="135981" y="1002732"/>
                  </a:lnTo>
                  <a:lnTo>
                    <a:pt x="0" y="986630"/>
                  </a:lnTo>
                  <a:lnTo>
                    <a:pt x="16102" y="850649"/>
                  </a:lnTo>
                  <a:lnTo>
                    <a:pt x="83889" y="278187"/>
                  </a:lnTo>
                  <a:lnTo>
                    <a:pt x="99991" y="142206"/>
                  </a:lnTo>
                  <a:lnTo>
                    <a:pt x="202225" y="154311"/>
                  </a:lnTo>
                  <a:lnTo>
                    <a:pt x="202225" y="136931"/>
                  </a:lnTo>
                  <a:lnTo>
                    <a:pt x="202223" y="0"/>
                  </a:lnTo>
                  <a:lnTo>
                    <a:pt x="339156" y="0"/>
                  </a:lnTo>
                  <a:lnTo>
                    <a:pt x="150171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52A5F9A-538F-8870-1972-95D13DF15C88}"/>
              </a:ext>
            </a:extLst>
          </p:cNvPr>
          <p:cNvCxnSpPr>
            <a:cxnSpLocks/>
            <a:stCxn id="38" idx="3"/>
            <a:endCxn id="3110" idx="2"/>
          </p:cNvCxnSpPr>
          <p:nvPr/>
        </p:nvCxnSpPr>
        <p:spPr bwMode="gray">
          <a:xfrm flipV="1">
            <a:off x="3220879" y="2474590"/>
            <a:ext cx="1029252" cy="481058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431794E-76F0-F64D-A6D3-BC078B4E0652}"/>
              </a:ext>
            </a:extLst>
          </p:cNvPr>
          <p:cNvSpPr txBox="1"/>
          <p:nvPr/>
        </p:nvSpPr>
        <p:spPr>
          <a:xfrm>
            <a:off x="3711488" y="3283642"/>
            <a:ext cx="14429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rompt Engineering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346B6D3-1AC8-BE82-4A24-FA47CD8791B5}"/>
              </a:ext>
            </a:extLst>
          </p:cNvPr>
          <p:cNvSpPr/>
          <p:nvPr/>
        </p:nvSpPr>
        <p:spPr>
          <a:xfrm>
            <a:off x="2228018" y="2791011"/>
            <a:ext cx="992861" cy="32927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mpts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1" name="Picture 8">
            <a:extLst>
              <a:ext uri="{FF2B5EF4-FFF2-40B4-BE49-F238E27FC236}">
                <a16:creationId xmlns:a16="http://schemas.microsoft.com/office/drawing/2014/main" id="{82F03EC0-1D65-0653-6AF3-4D0599649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393" y="3320379"/>
            <a:ext cx="441098" cy="39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71A6F16-8A18-F810-1196-6FC200EDC8AD}"/>
              </a:ext>
            </a:extLst>
          </p:cNvPr>
          <p:cNvCxnSpPr>
            <a:cxnSpLocks/>
            <a:stCxn id="41" idx="3"/>
            <a:endCxn id="38" idx="1"/>
          </p:cNvCxnSpPr>
          <p:nvPr/>
        </p:nvCxnSpPr>
        <p:spPr bwMode="gray">
          <a:xfrm flipV="1">
            <a:off x="970491" y="2955648"/>
            <a:ext cx="1257527" cy="564578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C149A14D-4846-E5C1-8799-F312CAD5CFDF}"/>
              </a:ext>
            </a:extLst>
          </p:cNvPr>
          <p:cNvSpPr txBox="1"/>
          <p:nvPr/>
        </p:nvSpPr>
        <p:spPr>
          <a:xfrm>
            <a:off x="113662" y="3917959"/>
            <a:ext cx="14429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Key point Checklist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815177F-6206-3982-703D-4B0F87835CE2}"/>
              </a:ext>
            </a:extLst>
          </p:cNvPr>
          <p:cNvSpPr/>
          <p:nvPr/>
        </p:nvSpPr>
        <p:spPr>
          <a:xfrm>
            <a:off x="2228018" y="3207570"/>
            <a:ext cx="992861" cy="32927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mpts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1E2F0B9-BFF6-35B6-18AB-5FD6E93FDF6D}"/>
              </a:ext>
            </a:extLst>
          </p:cNvPr>
          <p:cNvSpPr/>
          <p:nvPr/>
        </p:nvSpPr>
        <p:spPr>
          <a:xfrm>
            <a:off x="2228017" y="3928057"/>
            <a:ext cx="992861" cy="32927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mpts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33FEAAA-4477-69F4-740F-503D386CBE21}"/>
              </a:ext>
            </a:extLst>
          </p:cNvPr>
          <p:cNvCxnSpPr>
            <a:cxnSpLocks/>
            <a:stCxn id="41" idx="3"/>
            <a:endCxn id="48" idx="1"/>
          </p:cNvCxnSpPr>
          <p:nvPr/>
        </p:nvCxnSpPr>
        <p:spPr bwMode="gray">
          <a:xfrm flipV="1">
            <a:off x="970491" y="3372207"/>
            <a:ext cx="1257527" cy="148019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53AF0C5F-55E7-121F-3FF2-0102AA4BF26F}"/>
              </a:ext>
            </a:extLst>
          </p:cNvPr>
          <p:cNvCxnSpPr>
            <a:cxnSpLocks/>
            <a:stCxn id="41" idx="3"/>
            <a:endCxn id="49" idx="1"/>
          </p:cNvCxnSpPr>
          <p:nvPr/>
        </p:nvCxnSpPr>
        <p:spPr bwMode="gray">
          <a:xfrm>
            <a:off x="970491" y="3520226"/>
            <a:ext cx="1257526" cy="572468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96C1677-8977-C95A-FE7E-69AAC60FBA88}"/>
              </a:ext>
            </a:extLst>
          </p:cNvPr>
          <p:cNvSpPr txBox="1"/>
          <p:nvPr/>
        </p:nvSpPr>
        <p:spPr>
          <a:xfrm>
            <a:off x="2508534" y="3585642"/>
            <a:ext cx="4318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……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61EB644-ED3B-7CEE-4B26-7B7A5AA28FF6}"/>
              </a:ext>
            </a:extLst>
          </p:cNvPr>
          <p:cNvCxnSpPr>
            <a:cxnSpLocks/>
            <a:stCxn id="48" idx="3"/>
            <a:endCxn id="3110" idx="2"/>
          </p:cNvCxnSpPr>
          <p:nvPr/>
        </p:nvCxnSpPr>
        <p:spPr bwMode="gray">
          <a:xfrm flipV="1">
            <a:off x="3220879" y="2474590"/>
            <a:ext cx="1029252" cy="897617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B6538B9-1985-2D7D-0A62-8832839AF7BC}"/>
              </a:ext>
            </a:extLst>
          </p:cNvPr>
          <p:cNvCxnSpPr>
            <a:cxnSpLocks/>
            <a:stCxn id="49" idx="3"/>
            <a:endCxn id="3110" idx="2"/>
          </p:cNvCxnSpPr>
          <p:nvPr/>
        </p:nvCxnSpPr>
        <p:spPr bwMode="gray">
          <a:xfrm flipV="1">
            <a:off x="3220878" y="2474590"/>
            <a:ext cx="1029253" cy="1618104"/>
          </a:xfrm>
          <a:prstGeom prst="straightConnector1">
            <a:avLst/>
          </a:prstGeom>
          <a:ln w="9525">
            <a:solidFill>
              <a:srgbClr val="4432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itle 2">
            <a:extLst>
              <a:ext uri="{FF2B5EF4-FFF2-40B4-BE49-F238E27FC236}">
                <a16:creationId xmlns:a16="http://schemas.microsoft.com/office/drawing/2014/main" id="{C319D6BA-10E0-BB7A-EC11-728EA7C840DC}"/>
              </a:ext>
            </a:extLst>
          </p:cNvPr>
          <p:cNvSpPr txBox="1">
            <a:spLocks/>
          </p:cNvSpPr>
          <p:nvPr/>
        </p:nvSpPr>
        <p:spPr bwMode="gray">
          <a:xfrm>
            <a:off x="9005163" y="227461"/>
            <a:ext cx="2875093" cy="86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B</a:t>
            </a:r>
            <a:r>
              <a:rPr lang="en-US" dirty="0"/>
              <a:t>usiness </a:t>
            </a:r>
            <a:r>
              <a:rPr lang="en-US" altLang="zh-CN" dirty="0"/>
              <a:t>V</a:t>
            </a:r>
            <a:r>
              <a:rPr lang="en-US" dirty="0"/>
              <a:t>alue</a:t>
            </a:r>
          </a:p>
        </p:txBody>
      </p:sp>
      <p:grpSp>
        <p:nvGrpSpPr>
          <p:cNvPr id="91" name="myP_People">
            <a:extLst>
              <a:ext uri="{FF2B5EF4-FFF2-40B4-BE49-F238E27FC236}">
                <a16:creationId xmlns:a16="http://schemas.microsoft.com/office/drawing/2014/main" id="{1966BF33-68B3-FE94-E796-EF1BB1678E66}"/>
              </a:ext>
            </a:extLst>
          </p:cNvPr>
          <p:cNvGrpSpPr>
            <a:grpSpLocks noChangeAspect="1"/>
          </p:cNvGrpSpPr>
          <p:nvPr/>
        </p:nvGrpSpPr>
        <p:grpSpPr>
          <a:xfrm>
            <a:off x="10309220" y="2646995"/>
            <a:ext cx="415130" cy="398020"/>
            <a:chOff x="12639675" y="5376863"/>
            <a:chExt cx="731838" cy="701675"/>
          </a:xfrm>
          <a:solidFill>
            <a:schemeClr val="tx1"/>
          </a:solidFill>
        </p:grpSpPr>
        <p:sp>
          <p:nvSpPr>
            <p:cNvPr id="92" name="Freeform 118">
              <a:extLst>
                <a:ext uri="{FF2B5EF4-FFF2-40B4-BE49-F238E27FC236}">
                  <a16:creationId xmlns:a16="http://schemas.microsoft.com/office/drawing/2014/main" id="{A5B38431-DD37-7A75-74AF-34874C78F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47613" y="5411788"/>
              <a:ext cx="325438" cy="474662"/>
            </a:xfrm>
            <a:custGeom>
              <a:avLst/>
              <a:gdLst>
                <a:gd name="T0" fmla="*/ 16 w 261"/>
                <a:gd name="T1" fmla="*/ 0 h 381"/>
                <a:gd name="T2" fmla="*/ 0 w 261"/>
                <a:gd name="T3" fmla="*/ 16 h 381"/>
                <a:gd name="T4" fmla="*/ 0 w 261"/>
                <a:gd name="T5" fmla="*/ 333 h 381"/>
                <a:gd name="T6" fmla="*/ 16 w 261"/>
                <a:gd name="T7" fmla="*/ 349 h 381"/>
                <a:gd name="T8" fmla="*/ 63 w 261"/>
                <a:gd name="T9" fmla="*/ 349 h 381"/>
                <a:gd name="T10" fmla="*/ 110 w 261"/>
                <a:gd name="T11" fmla="*/ 381 h 381"/>
                <a:gd name="T12" fmla="*/ 157 w 261"/>
                <a:gd name="T13" fmla="*/ 349 h 381"/>
                <a:gd name="T14" fmla="*/ 245 w 261"/>
                <a:gd name="T15" fmla="*/ 349 h 381"/>
                <a:gd name="T16" fmla="*/ 261 w 261"/>
                <a:gd name="T17" fmla="*/ 333 h 381"/>
                <a:gd name="T18" fmla="*/ 261 w 261"/>
                <a:gd name="T19" fmla="*/ 16 h 381"/>
                <a:gd name="T20" fmla="*/ 245 w 261"/>
                <a:gd name="T21" fmla="*/ 0 h 381"/>
                <a:gd name="T22" fmla="*/ 16 w 261"/>
                <a:gd name="T23" fmla="*/ 0 h 381"/>
                <a:gd name="T24" fmla="*/ 229 w 261"/>
                <a:gd name="T25" fmla="*/ 317 h 381"/>
                <a:gd name="T26" fmla="*/ 158 w 261"/>
                <a:gd name="T27" fmla="*/ 317 h 381"/>
                <a:gd name="T28" fmla="*/ 110 w 261"/>
                <a:gd name="T29" fmla="*/ 280 h 381"/>
                <a:gd name="T30" fmla="*/ 61 w 261"/>
                <a:gd name="T31" fmla="*/ 317 h 381"/>
                <a:gd name="T32" fmla="*/ 32 w 261"/>
                <a:gd name="T33" fmla="*/ 317 h 381"/>
                <a:gd name="T34" fmla="*/ 32 w 261"/>
                <a:gd name="T35" fmla="*/ 32 h 381"/>
                <a:gd name="T36" fmla="*/ 229 w 261"/>
                <a:gd name="T37" fmla="*/ 32 h 381"/>
                <a:gd name="T38" fmla="*/ 229 w 261"/>
                <a:gd name="T39" fmla="*/ 317 h 381"/>
                <a:gd name="T40" fmla="*/ 111 w 261"/>
                <a:gd name="T41" fmla="*/ 349 h 381"/>
                <a:gd name="T42" fmla="*/ 110 w 261"/>
                <a:gd name="T43" fmla="*/ 349 h 381"/>
                <a:gd name="T44" fmla="*/ 108 w 261"/>
                <a:gd name="T45" fmla="*/ 349 h 381"/>
                <a:gd name="T46" fmla="*/ 92 w 261"/>
                <a:gd name="T47" fmla="*/ 333 h 381"/>
                <a:gd name="T48" fmla="*/ 91 w 261"/>
                <a:gd name="T49" fmla="*/ 331 h 381"/>
                <a:gd name="T50" fmla="*/ 97 w 261"/>
                <a:gd name="T51" fmla="*/ 317 h 381"/>
                <a:gd name="T52" fmla="*/ 110 w 261"/>
                <a:gd name="T53" fmla="*/ 312 h 381"/>
                <a:gd name="T54" fmla="*/ 122 w 261"/>
                <a:gd name="T55" fmla="*/ 317 h 381"/>
                <a:gd name="T56" fmla="*/ 128 w 261"/>
                <a:gd name="T57" fmla="*/ 331 h 381"/>
                <a:gd name="T58" fmla="*/ 128 w 261"/>
                <a:gd name="T59" fmla="*/ 333 h 381"/>
                <a:gd name="T60" fmla="*/ 111 w 261"/>
                <a:gd name="T61" fmla="*/ 34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1" h="381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42"/>
                    <a:pt x="7" y="349"/>
                    <a:pt x="16" y="349"/>
                  </a:cubicBezTo>
                  <a:cubicBezTo>
                    <a:pt x="63" y="349"/>
                    <a:pt x="63" y="349"/>
                    <a:pt x="63" y="349"/>
                  </a:cubicBezTo>
                  <a:cubicBezTo>
                    <a:pt x="70" y="368"/>
                    <a:pt x="88" y="381"/>
                    <a:pt x="110" y="381"/>
                  </a:cubicBezTo>
                  <a:cubicBezTo>
                    <a:pt x="131" y="381"/>
                    <a:pt x="149" y="368"/>
                    <a:pt x="157" y="349"/>
                  </a:cubicBezTo>
                  <a:cubicBezTo>
                    <a:pt x="245" y="349"/>
                    <a:pt x="245" y="349"/>
                    <a:pt x="245" y="349"/>
                  </a:cubicBezTo>
                  <a:cubicBezTo>
                    <a:pt x="254" y="349"/>
                    <a:pt x="261" y="342"/>
                    <a:pt x="261" y="333"/>
                  </a:cubicBezTo>
                  <a:cubicBezTo>
                    <a:pt x="261" y="16"/>
                    <a:pt x="261" y="16"/>
                    <a:pt x="261" y="16"/>
                  </a:cubicBezTo>
                  <a:cubicBezTo>
                    <a:pt x="261" y="7"/>
                    <a:pt x="254" y="0"/>
                    <a:pt x="245" y="0"/>
                  </a:cubicBezTo>
                  <a:lnTo>
                    <a:pt x="16" y="0"/>
                  </a:lnTo>
                  <a:close/>
                  <a:moveTo>
                    <a:pt x="229" y="317"/>
                  </a:moveTo>
                  <a:cubicBezTo>
                    <a:pt x="158" y="317"/>
                    <a:pt x="158" y="317"/>
                    <a:pt x="158" y="317"/>
                  </a:cubicBezTo>
                  <a:cubicBezTo>
                    <a:pt x="152" y="296"/>
                    <a:pt x="133" y="280"/>
                    <a:pt x="110" y="280"/>
                  </a:cubicBezTo>
                  <a:cubicBezTo>
                    <a:pt x="87" y="280"/>
                    <a:pt x="67" y="296"/>
                    <a:pt x="61" y="317"/>
                  </a:cubicBezTo>
                  <a:cubicBezTo>
                    <a:pt x="32" y="317"/>
                    <a:pt x="32" y="317"/>
                    <a:pt x="32" y="31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29" y="32"/>
                    <a:pt x="229" y="32"/>
                    <a:pt x="229" y="32"/>
                  </a:cubicBezTo>
                  <a:lnTo>
                    <a:pt x="229" y="317"/>
                  </a:lnTo>
                  <a:close/>
                  <a:moveTo>
                    <a:pt x="111" y="349"/>
                  </a:moveTo>
                  <a:cubicBezTo>
                    <a:pt x="111" y="349"/>
                    <a:pt x="110" y="349"/>
                    <a:pt x="110" y="349"/>
                  </a:cubicBezTo>
                  <a:cubicBezTo>
                    <a:pt x="109" y="349"/>
                    <a:pt x="109" y="349"/>
                    <a:pt x="108" y="349"/>
                  </a:cubicBezTo>
                  <a:cubicBezTo>
                    <a:pt x="100" y="348"/>
                    <a:pt x="93" y="342"/>
                    <a:pt x="92" y="333"/>
                  </a:cubicBezTo>
                  <a:cubicBezTo>
                    <a:pt x="91" y="332"/>
                    <a:pt x="91" y="332"/>
                    <a:pt x="91" y="331"/>
                  </a:cubicBezTo>
                  <a:cubicBezTo>
                    <a:pt x="91" y="325"/>
                    <a:pt x="94" y="321"/>
                    <a:pt x="97" y="317"/>
                  </a:cubicBezTo>
                  <a:cubicBezTo>
                    <a:pt x="101" y="314"/>
                    <a:pt x="105" y="312"/>
                    <a:pt x="110" y="312"/>
                  </a:cubicBezTo>
                  <a:cubicBezTo>
                    <a:pt x="115" y="312"/>
                    <a:pt x="119" y="314"/>
                    <a:pt x="122" y="317"/>
                  </a:cubicBezTo>
                  <a:cubicBezTo>
                    <a:pt x="126" y="321"/>
                    <a:pt x="128" y="325"/>
                    <a:pt x="128" y="331"/>
                  </a:cubicBezTo>
                  <a:cubicBezTo>
                    <a:pt x="128" y="332"/>
                    <a:pt x="128" y="332"/>
                    <a:pt x="128" y="333"/>
                  </a:cubicBezTo>
                  <a:cubicBezTo>
                    <a:pt x="127" y="342"/>
                    <a:pt x="120" y="348"/>
                    <a:pt x="111" y="3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119">
              <a:extLst>
                <a:ext uri="{FF2B5EF4-FFF2-40B4-BE49-F238E27FC236}">
                  <a16:creationId xmlns:a16="http://schemas.microsoft.com/office/drawing/2014/main" id="{E79CDB8B-EE5B-717C-5EC6-DF7DA1B14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481638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5"/>
                    <a:pt x="162" y="16"/>
                  </a:cubicBezTo>
                  <a:cubicBezTo>
                    <a:pt x="162" y="8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120">
              <a:extLst>
                <a:ext uri="{FF2B5EF4-FFF2-40B4-BE49-F238E27FC236}">
                  <a16:creationId xmlns:a16="http://schemas.microsoft.com/office/drawing/2014/main" id="{6D1F1DDB-DF83-EEF4-01A5-080108220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538788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5"/>
                    <a:pt x="162" y="16"/>
                  </a:cubicBezTo>
                  <a:cubicBezTo>
                    <a:pt x="162" y="7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121">
              <a:extLst>
                <a:ext uri="{FF2B5EF4-FFF2-40B4-BE49-F238E27FC236}">
                  <a16:creationId xmlns:a16="http://schemas.microsoft.com/office/drawing/2014/main" id="{26F3C464-B0F4-06D1-4A26-80A34A532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648325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4"/>
                    <a:pt x="162" y="16"/>
                  </a:cubicBezTo>
                  <a:cubicBezTo>
                    <a:pt x="162" y="7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22">
              <a:extLst>
                <a:ext uri="{FF2B5EF4-FFF2-40B4-BE49-F238E27FC236}">
                  <a16:creationId xmlns:a16="http://schemas.microsoft.com/office/drawing/2014/main" id="{A716FDFB-446B-A16E-F880-33BC5CF7E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592763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5"/>
                    <a:pt x="162" y="16"/>
                  </a:cubicBezTo>
                  <a:cubicBezTo>
                    <a:pt x="162" y="7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23">
              <a:extLst>
                <a:ext uri="{FF2B5EF4-FFF2-40B4-BE49-F238E27FC236}">
                  <a16:creationId xmlns:a16="http://schemas.microsoft.com/office/drawing/2014/main" id="{D0884C93-7BF0-0AD9-ACB0-2E667472D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703888"/>
              <a:ext cx="153988" cy="39687"/>
            </a:xfrm>
            <a:custGeom>
              <a:avLst/>
              <a:gdLst>
                <a:gd name="T0" fmla="*/ 16 w 124"/>
                <a:gd name="T1" fmla="*/ 32 h 32"/>
                <a:gd name="T2" fmla="*/ 108 w 124"/>
                <a:gd name="T3" fmla="*/ 32 h 32"/>
                <a:gd name="T4" fmla="*/ 124 w 124"/>
                <a:gd name="T5" fmla="*/ 16 h 32"/>
                <a:gd name="T6" fmla="*/ 108 w 124"/>
                <a:gd name="T7" fmla="*/ 0 h 32"/>
                <a:gd name="T8" fmla="*/ 16 w 124"/>
                <a:gd name="T9" fmla="*/ 0 h 32"/>
                <a:gd name="T10" fmla="*/ 0 w 124"/>
                <a:gd name="T11" fmla="*/ 16 h 32"/>
                <a:gd name="T12" fmla="*/ 16 w 1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2">
                  <a:moveTo>
                    <a:pt x="16" y="32"/>
                  </a:moveTo>
                  <a:cubicBezTo>
                    <a:pt x="108" y="32"/>
                    <a:pt x="108" y="32"/>
                    <a:pt x="108" y="32"/>
                  </a:cubicBezTo>
                  <a:cubicBezTo>
                    <a:pt x="117" y="32"/>
                    <a:pt x="124" y="25"/>
                    <a:pt x="124" y="16"/>
                  </a:cubicBezTo>
                  <a:cubicBezTo>
                    <a:pt x="124" y="7"/>
                    <a:pt x="117" y="0"/>
                    <a:pt x="10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144">
              <a:extLst>
                <a:ext uri="{FF2B5EF4-FFF2-40B4-BE49-F238E27FC236}">
                  <a16:creationId xmlns:a16="http://schemas.microsoft.com/office/drawing/2014/main" id="{8B254573-23D9-EAD5-13FE-5484DC919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8450" y="5410200"/>
              <a:ext cx="352425" cy="327025"/>
            </a:xfrm>
            <a:custGeom>
              <a:avLst/>
              <a:gdLst>
                <a:gd name="T0" fmla="*/ 16 w 283"/>
                <a:gd name="T1" fmla="*/ 0 h 263"/>
                <a:gd name="T2" fmla="*/ 0 w 283"/>
                <a:gd name="T3" fmla="*/ 16 h 263"/>
                <a:gd name="T4" fmla="*/ 0 w 283"/>
                <a:gd name="T5" fmla="*/ 247 h 263"/>
                <a:gd name="T6" fmla="*/ 16 w 283"/>
                <a:gd name="T7" fmla="*/ 263 h 263"/>
                <a:gd name="T8" fmla="*/ 267 w 283"/>
                <a:gd name="T9" fmla="*/ 263 h 263"/>
                <a:gd name="T10" fmla="*/ 283 w 283"/>
                <a:gd name="T11" fmla="*/ 247 h 263"/>
                <a:gd name="T12" fmla="*/ 267 w 283"/>
                <a:gd name="T13" fmla="*/ 231 h 263"/>
                <a:gd name="T14" fmla="*/ 32 w 283"/>
                <a:gd name="T15" fmla="*/ 231 h 263"/>
                <a:gd name="T16" fmla="*/ 32 w 283"/>
                <a:gd name="T17" fmla="*/ 16 h 263"/>
                <a:gd name="T18" fmla="*/ 16 w 283"/>
                <a:gd name="T1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3" h="263">
                  <a:moveTo>
                    <a:pt x="16" y="0"/>
                  </a:moveTo>
                  <a:cubicBezTo>
                    <a:pt x="7" y="0"/>
                    <a:pt x="0" y="8"/>
                    <a:pt x="0" y="16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56"/>
                    <a:pt x="7" y="263"/>
                    <a:pt x="16" y="263"/>
                  </a:cubicBezTo>
                  <a:cubicBezTo>
                    <a:pt x="267" y="263"/>
                    <a:pt x="267" y="263"/>
                    <a:pt x="267" y="263"/>
                  </a:cubicBezTo>
                  <a:cubicBezTo>
                    <a:pt x="276" y="263"/>
                    <a:pt x="283" y="256"/>
                    <a:pt x="283" y="247"/>
                  </a:cubicBezTo>
                  <a:cubicBezTo>
                    <a:pt x="283" y="238"/>
                    <a:pt x="276" y="231"/>
                    <a:pt x="267" y="231"/>
                  </a:cubicBezTo>
                  <a:cubicBezTo>
                    <a:pt x="32" y="231"/>
                    <a:pt x="32" y="231"/>
                    <a:pt x="32" y="231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8"/>
                    <a:pt x="25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45">
              <a:extLst>
                <a:ext uri="{FF2B5EF4-FFF2-40B4-BE49-F238E27FC236}">
                  <a16:creationId xmlns:a16="http://schemas.microsoft.com/office/drawing/2014/main" id="{D894FEE0-0C84-5EF2-D68A-1002EE43F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2900" y="5376863"/>
              <a:ext cx="328613" cy="268287"/>
            </a:xfrm>
            <a:custGeom>
              <a:avLst/>
              <a:gdLst>
                <a:gd name="T0" fmla="*/ 244 w 264"/>
                <a:gd name="T1" fmla="*/ 0 h 215"/>
                <a:gd name="T2" fmla="*/ 201 w 264"/>
                <a:gd name="T3" fmla="*/ 3 h 215"/>
                <a:gd name="T4" fmla="*/ 186 w 264"/>
                <a:gd name="T5" fmla="*/ 20 h 215"/>
                <a:gd name="T6" fmla="*/ 203 w 264"/>
                <a:gd name="T7" fmla="*/ 35 h 215"/>
                <a:gd name="T8" fmla="*/ 206 w 264"/>
                <a:gd name="T9" fmla="*/ 35 h 215"/>
                <a:gd name="T10" fmla="*/ 133 w 264"/>
                <a:gd name="T11" fmla="*/ 127 h 215"/>
                <a:gd name="T12" fmla="*/ 104 w 264"/>
                <a:gd name="T13" fmla="*/ 95 h 215"/>
                <a:gd name="T14" fmla="*/ 92 w 264"/>
                <a:gd name="T15" fmla="*/ 90 h 215"/>
                <a:gd name="T16" fmla="*/ 80 w 264"/>
                <a:gd name="T17" fmla="*/ 96 h 215"/>
                <a:gd name="T18" fmla="*/ 5 w 264"/>
                <a:gd name="T19" fmla="*/ 189 h 215"/>
                <a:gd name="T20" fmla="*/ 8 w 264"/>
                <a:gd name="T21" fmla="*/ 211 h 215"/>
                <a:gd name="T22" fmla="*/ 18 w 264"/>
                <a:gd name="T23" fmla="*/ 215 h 215"/>
                <a:gd name="T24" fmla="*/ 30 w 264"/>
                <a:gd name="T25" fmla="*/ 209 h 215"/>
                <a:gd name="T26" fmla="*/ 93 w 264"/>
                <a:gd name="T27" fmla="*/ 131 h 215"/>
                <a:gd name="T28" fmla="*/ 122 w 264"/>
                <a:gd name="T29" fmla="*/ 162 h 215"/>
                <a:gd name="T30" fmla="*/ 135 w 264"/>
                <a:gd name="T31" fmla="*/ 167 h 215"/>
                <a:gd name="T32" fmla="*/ 147 w 264"/>
                <a:gd name="T33" fmla="*/ 161 h 215"/>
                <a:gd name="T34" fmla="*/ 231 w 264"/>
                <a:gd name="T35" fmla="*/ 55 h 215"/>
                <a:gd name="T36" fmla="*/ 232 w 264"/>
                <a:gd name="T37" fmla="*/ 60 h 215"/>
                <a:gd name="T38" fmla="*/ 248 w 264"/>
                <a:gd name="T39" fmla="*/ 75 h 215"/>
                <a:gd name="T40" fmla="*/ 249 w 264"/>
                <a:gd name="T41" fmla="*/ 75 h 215"/>
                <a:gd name="T42" fmla="*/ 264 w 264"/>
                <a:gd name="T43" fmla="*/ 58 h 215"/>
                <a:gd name="T44" fmla="*/ 261 w 264"/>
                <a:gd name="T45" fmla="*/ 15 h 215"/>
                <a:gd name="T46" fmla="*/ 244 w 264"/>
                <a:gd name="T47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4" h="215">
                  <a:moveTo>
                    <a:pt x="244" y="0"/>
                  </a:moveTo>
                  <a:cubicBezTo>
                    <a:pt x="201" y="3"/>
                    <a:pt x="201" y="3"/>
                    <a:pt x="201" y="3"/>
                  </a:cubicBezTo>
                  <a:cubicBezTo>
                    <a:pt x="192" y="4"/>
                    <a:pt x="186" y="12"/>
                    <a:pt x="186" y="20"/>
                  </a:cubicBezTo>
                  <a:cubicBezTo>
                    <a:pt x="187" y="29"/>
                    <a:pt x="194" y="36"/>
                    <a:pt x="203" y="35"/>
                  </a:cubicBezTo>
                  <a:cubicBezTo>
                    <a:pt x="206" y="35"/>
                    <a:pt x="206" y="35"/>
                    <a:pt x="206" y="35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1" y="92"/>
                    <a:pt x="97" y="90"/>
                    <a:pt x="92" y="90"/>
                  </a:cubicBezTo>
                  <a:cubicBezTo>
                    <a:pt x="87" y="91"/>
                    <a:pt x="83" y="93"/>
                    <a:pt x="80" y="96"/>
                  </a:cubicBezTo>
                  <a:cubicBezTo>
                    <a:pt x="5" y="189"/>
                    <a:pt x="5" y="189"/>
                    <a:pt x="5" y="189"/>
                  </a:cubicBezTo>
                  <a:cubicBezTo>
                    <a:pt x="0" y="196"/>
                    <a:pt x="1" y="206"/>
                    <a:pt x="8" y="211"/>
                  </a:cubicBezTo>
                  <a:cubicBezTo>
                    <a:pt x="11" y="214"/>
                    <a:pt x="14" y="215"/>
                    <a:pt x="18" y="215"/>
                  </a:cubicBezTo>
                  <a:cubicBezTo>
                    <a:pt x="22" y="215"/>
                    <a:pt x="27" y="213"/>
                    <a:pt x="30" y="209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26" y="166"/>
                    <a:pt x="130" y="168"/>
                    <a:pt x="135" y="167"/>
                  </a:cubicBezTo>
                  <a:cubicBezTo>
                    <a:pt x="140" y="167"/>
                    <a:pt x="144" y="165"/>
                    <a:pt x="147" y="161"/>
                  </a:cubicBezTo>
                  <a:cubicBezTo>
                    <a:pt x="231" y="55"/>
                    <a:pt x="231" y="55"/>
                    <a:pt x="231" y="55"/>
                  </a:cubicBezTo>
                  <a:cubicBezTo>
                    <a:pt x="232" y="60"/>
                    <a:pt x="232" y="60"/>
                    <a:pt x="232" y="60"/>
                  </a:cubicBezTo>
                  <a:cubicBezTo>
                    <a:pt x="232" y="68"/>
                    <a:pt x="239" y="75"/>
                    <a:pt x="248" y="75"/>
                  </a:cubicBezTo>
                  <a:cubicBezTo>
                    <a:pt x="248" y="75"/>
                    <a:pt x="248" y="75"/>
                    <a:pt x="249" y="75"/>
                  </a:cubicBezTo>
                  <a:cubicBezTo>
                    <a:pt x="257" y="74"/>
                    <a:pt x="264" y="67"/>
                    <a:pt x="264" y="58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60" y="6"/>
                    <a:pt x="252" y="0"/>
                    <a:pt x="2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Rectangle 146">
              <a:extLst>
                <a:ext uri="{FF2B5EF4-FFF2-40B4-BE49-F238E27FC236}">
                  <a16:creationId xmlns:a16="http://schemas.microsoft.com/office/drawing/2014/main" id="{40353B56-7308-167E-2330-C42AC6878A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1025" y="5564188"/>
              <a:ext cx="23813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Rectangle 147">
              <a:extLst>
                <a:ext uri="{FF2B5EF4-FFF2-40B4-BE49-F238E27FC236}">
                  <a16:creationId xmlns:a16="http://schemas.microsoft.com/office/drawing/2014/main" id="{4F96B0A8-0283-FBBB-9E0C-67C2445E6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30213" y="5613400"/>
              <a:ext cx="22225" cy="746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Rectangle 148">
              <a:extLst>
                <a:ext uri="{FF2B5EF4-FFF2-40B4-BE49-F238E27FC236}">
                  <a16:creationId xmlns:a16="http://schemas.microsoft.com/office/drawing/2014/main" id="{4803DA0A-DAC3-228B-A124-EB93D35807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54013" y="5651500"/>
              <a:ext cx="22225" cy="365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Rectangle 149">
              <a:extLst>
                <a:ext uri="{FF2B5EF4-FFF2-40B4-BE49-F238E27FC236}">
                  <a16:creationId xmlns:a16="http://schemas.microsoft.com/office/drawing/2014/main" id="{AA5747BF-5426-A477-1476-775AE722D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04825" y="5591175"/>
              <a:ext cx="23813" cy="968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97">
              <a:extLst>
                <a:ext uri="{FF2B5EF4-FFF2-40B4-BE49-F238E27FC236}">
                  <a16:creationId xmlns:a16="http://schemas.microsoft.com/office/drawing/2014/main" id="{8A6AB4FA-0F0A-6862-02C9-1F9CB093AE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68313" y="5761038"/>
              <a:ext cx="125413" cy="125412"/>
            </a:xfrm>
            <a:custGeom>
              <a:avLst/>
              <a:gdLst>
                <a:gd name="T0" fmla="*/ 0 w 101"/>
                <a:gd name="T1" fmla="*/ 51 h 101"/>
                <a:gd name="T2" fmla="*/ 50 w 101"/>
                <a:gd name="T3" fmla="*/ 101 h 101"/>
                <a:gd name="T4" fmla="*/ 101 w 101"/>
                <a:gd name="T5" fmla="*/ 51 h 101"/>
                <a:gd name="T6" fmla="*/ 50 w 101"/>
                <a:gd name="T7" fmla="*/ 0 h 101"/>
                <a:gd name="T8" fmla="*/ 0 w 101"/>
                <a:gd name="T9" fmla="*/ 51 h 101"/>
                <a:gd name="T10" fmla="*/ 50 w 101"/>
                <a:gd name="T11" fmla="*/ 69 h 101"/>
                <a:gd name="T12" fmla="*/ 32 w 101"/>
                <a:gd name="T13" fmla="*/ 51 h 101"/>
                <a:gd name="T14" fmla="*/ 50 w 101"/>
                <a:gd name="T15" fmla="*/ 32 h 101"/>
                <a:gd name="T16" fmla="*/ 69 w 101"/>
                <a:gd name="T17" fmla="*/ 51 h 101"/>
                <a:gd name="T18" fmla="*/ 50 w 101"/>
                <a:gd name="T19" fmla="*/ 6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0" y="51"/>
                  </a:moveTo>
                  <a:cubicBezTo>
                    <a:pt x="0" y="79"/>
                    <a:pt x="22" y="101"/>
                    <a:pt x="50" y="101"/>
                  </a:cubicBezTo>
                  <a:cubicBezTo>
                    <a:pt x="78" y="101"/>
                    <a:pt x="101" y="79"/>
                    <a:pt x="101" y="51"/>
                  </a:cubicBezTo>
                  <a:cubicBezTo>
                    <a:pt x="101" y="23"/>
                    <a:pt x="78" y="0"/>
                    <a:pt x="50" y="0"/>
                  </a:cubicBezTo>
                  <a:cubicBezTo>
                    <a:pt x="22" y="0"/>
                    <a:pt x="0" y="23"/>
                    <a:pt x="0" y="51"/>
                  </a:cubicBezTo>
                  <a:close/>
                  <a:moveTo>
                    <a:pt x="50" y="69"/>
                  </a:moveTo>
                  <a:cubicBezTo>
                    <a:pt x="40" y="69"/>
                    <a:pt x="32" y="61"/>
                    <a:pt x="32" y="51"/>
                  </a:cubicBezTo>
                  <a:cubicBezTo>
                    <a:pt x="32" y="41"/>
                    <a:pt x="40" y="32"/>
                    <a:pt x="50" y="32"/>
                  </a:cubicBezTo>
                  <a:cubicBezTo>
                    <a:pt x="60" y="32"/>
                    <a:pt x="69" y="41"/>
                    <a:pt x="69" y="51"/>
                  </a:cubicBezTo>
                  <a:cubicBezTo>
                    <a:pt x="69" y="61"/>
                    <a:pt x="60" y="69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98">
              <a:extLst>
                <a:ext uri="{FF2B5EF4-FFF2-40B4-BE49-F238E27FC236}">
                  <a16:creationId xmlns:a16="http://schemas.microsoft.com/office/drawing/2014/main" id="{6295BBA1-F8AC-CC02-CC6A-F01DFEF2DE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39675" y="5897563"/>
              <a:ext cx="722313" cy="180975"/>
            </a:xfrm>
            <a:custGeom>
              <a:avLst/>
              <a:gdLst>
                <a:gd name="T0" fmla="*/ 476 w 581"/>
                <a:gd name="T1" fmla="*/ 0 h 146"/>
                <a:gd name="T2" fmla="*/ 475 w 581"/>
                <a:gd name="T3" fmla="*/ 0 h 146"/>
                <a:gd name="T4" fmla="*/ 411 w 581"/>
                <a:gd name="T5" fmla="*/ 60 h 146"/>
                <a:gd name="T6" fmla="*/ 181 w 581"/>
                <a:gd name="T7" fmla="*/ 60 h 146"/>
                <a:gd name="T8" fmla="*/ 117 w 581"/>
                <a:gd name="T9" fmla="*/ 0 h 146"/>
                <a:gd name="T10" fmla="*/ 116 w 581"/>
                <a:gd name="T11" fmla="*/ 0 h 146"/>
                <a:gd name="T12" fmla="*/ 52 w 581"/>
                <a:gd name="T13" fmla="*/ 60 h 146"/>
                <a:gd name="T14" fmla="*/ 0 w 581"/>
                <a:gd name="T15" fmla="*/ 60 h 146"/>
                <a:gd name="T16" fmla="*/ 0 w 581"/>
                <a:gd name="T17" fmla="*/ 146 h 146"/>
                <a:gd name="T18" fmla="*/ 52 w 581"/>
                <a:gd name="T19" fmla="*/ 146 h 146"/>
                <a:gd name="T20" fmla="*/ 182 w 581"/>
                <a:gd name="T21" fmla="*/ 146 h 146"/>
                <a:gd name="T22" fmla="*/ 410 w 581"/>
                <a:gd name="T23" fmla="*/ 146 h 146"/>
                <a:gd name="T24" fmla="*/ 540 w 581"/>
                <a:gd name="T25" fmla="*/ 146 h 146"/>
                <a:gd name="T26" fmla="*/ 581 w 581"/>
                <a:gd name="T27" fmla="*/ 146 h 146"/>
                <a:gd name="T28" fmla="*/ 581 w 581"/>
                <a:gd name="T29" fmla="*/ 60 h 146"/>
                <a:gd name="T30" fmla="*/ 540 w 581"/>
                <a:gd name="T31" fmla="*/ 60 h 146"/>
                <a:gd name="T32" fmla="*/ 476 w 581"/>
                <a:gd name="T33" fmla="*/ 0 h 146"/>
                <a:gd name="T34" fmla="*/ 549 w 581"/>
                <a:gd name="T35" fmla="*/ 114 h 146"/>
                <a:gd name="T36" fmla="*/ 540 w 581"/>
                <a:gd name="T37" fmla="*/ 114 h 146"/>
                <a:gd name="T38" fmla="*/ 524 w 581"/>
                <a:gd name="T39" fmla="*/ 114 h 146"/>
                <a:gd name="T40" fmla="*/ 508 w 581"/>
                <a:gd name="T41" fmla="*/ 114 h 146"/>
                <a:gd name="T42" fmla="*/ 442 w 581"/>
                <a:gd name="T43" fmla="*/ 114 h 146"/>
                <a:gd name="T44" fmla="*/ 426 w 581"/>
                <a:gd name="T45" fmla="*/ 114 h 146"/>
                <a:gd name="T46" fmla="*/ 410 w 581"/>
                <a:gd name="T47" fmla="*/ 114 h 146"/>
                <a:gd name="T48" fmla="*/ 182 w 581"/>
                <a:gd name="T49" fmla="*/ 114 h 146"/>
                <a:gd name="T50" fmla="*/ 166 w 581"/>
                <a:gd name="T51" fmla="*/ 114 h 146"/>
                <a:gd name="T52" fmla="*/ 150 w 581"/>
                <a:gd name="T53" fmla="*/ 114 h 146"/>
                <a:gd name="T54" fmla="*/ 84 w 581"/>
                <a:gd name="T55" fmla="*/ 114 h 146"/>
                <a:gd name="T56" fmla="*/ 68 w 581"/>
                <a:gd name="T57" fmla="*/ 114 h 146"/>
                <a:gd name="T58" fmla="*/ 52 w 581"/>
                <a:gd name="T59" fmla="*/ 114 h 146"/>
                <a:gd name="T60" fmla="*/ 32 w 581"/>
                <a:gd name="T61" fmla="*/ 114 h 146"/>
                <a:gd name="T62" fmla="*/ 32 w 581"/>
                <a:gd name="T63" fmla="*/ 92 h 146"/>
                <a:gd name="T64" fmla="*/ 52 w 581"/>
                <a:gd name="T65" fmla="*/ 92 h 146"/>
                <a:gd name="T66" fmla="*/ 68 w 581"/>
                <a:gd name="T67" fmla="*/ 92 h 146"/>
                <a:gd name="T68" fmla="*/ 84 w 581"/>
                <a:gd name="T69" fmla="*/ 92 h 146"/>
                <a:gd name="T70" fmla="*/ 150 w 581"/>
                <a:gd name="T71" fmla="*/ 92 h 146"/>
                <a:gd name="T72" fmla="*/ 166 w 581"/>
                <a:gd name="T73" fmla="*/ 92 h 146"/>
                <a:gd name="T74" fmla="*/ 182 w 581"/>
                <a:gd name="T75" fmla="*/ 92 h 146"/>
                <a:gd name="T76" fmla="*/ 410 w 581"/>
                <a:gd name="T77" fmla="*/ 92 h 146"/>
                <a:gd name="T78" fmla="*/ 426 w 581"/>
                <a:gd name="T79" fmla="*/ 92 h 146"/>
                <a:gd name="T80" fmla="*/ 442 w 581"/>
                <a:gd name="T81" fmla="*/ 92 h 146"/>
                <a:gd name="T82" fmla="*/ 508 w 581"/>
                <a:gd name="T83" fmla="*/ 92 h 146"/>
                <a:gd name="T84" fmla="*/ 524 w 581"/>
                <a:gd name="T85" fmla="*/ 92 h 146"/>
                <a:gd name="T86" fmla="*/ 540 w 581"/>
                <a:gd name="T87" fmla="*/ 92 h 146"/>
                <a:gd name="T88" fmla="*/ 549 w 581"/>
                <a:gd name="T89" fmla="*/ 92 h 146"/>
                <a:gd name="T90" fmla="*/ 549 w 581"/>
                <a:gd name="T91" fmla="*/ 114 h 146"/>
                <a:gd name="T92" fmla="*/ 116 w 581"/>
                <a:gd name="T93" fmla="*/ 32 h 146"/>
                <a:gd name="T94" fmla="*/ 117 w 581"/>
                <a:gd name="T95" fmla="*/ 32 h 146"/>
                <a:gd name="T96" fmla="*/ 149 w 581"/>
                <a:gd name="T97" fmla="*/ 60 h 146"/>
                <a:gd name="T98" fmla="*/ 84 w 581"/>
                <a:gd name="T99" fmla="*/ 60 h 146"/>
                <a:gd name="T100" fmla="*/ 116 w 581"/>
                <a:gd name="T101" fmla="*/ 32 h 146"/>
                <a:gd name="T102" fmla="*/ 475 w 581"/>
                <a:gd name="T103" fmla="*/ 32 h 146"/>
                <a:gd name="T104" fmla="*/ 476 w 581"/>
                <a:gd name="T105" fmla="*/ 32 h 146"/>
                <a:gd name="T106" fmla="*/ 508 w 581"/>
                <a:gd name="T107" fmla="*/ 60 h 146"/>
                <a:gd name="T108" fmla="*/ 443 w 581"/>
                <a:gd name="T109" fmla="*/ 60 h 146"/>
                <a:gd name="T110" fmla="*/ 475 w 581"/>
                <a:gd name="T111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1" h="146">
                  <a:moveTo>
                    <a:pt x="476" y="0"/>
                  </a:moveTo>
                  <a:cubicBezTo>
                    <a:pt x="475" y="0"/>
                    <a:pt x="475" y="0"/>
                    <a:pt x="475" y="0"/>
                  </a:cubicBezTo>
                  <a:cubicBezTo>
                    <a:pt x="441" y="0"/>
                    <a:pt x="413" y="27"/>
                    <a:pt x="411" y="60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79" y="27"/>
                    <a:pt x="151" y="0"/>
                    <a:pt x="117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82" y="0"/>
                    <a:pt x="55" y="27"/>
                    <a:pt x="52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52" y="146"/>
                    <a:pt x="52" y="146"/>
                    <a:pt x="52" y="146"/>
                  </a:cubicBezTo>
                  <a:cubicBezTo>
                    <a:pt x="182" y="146"/>
                    <a:pt x="182" y="146"/>
                    <a:pt x="182" y="146"/>
                  </a:cubicBezTo>
                  <a:cubicBezTo>
                    <a:pt x="410" y="146"/>
                    <a:pt x="410" y="146"/>
                    <a:pt x="410" y="146"/>
                  </a:cubicBezTo>
                  <a:cubicBezTo>
                    <a:pt x="540" y="146"/>
                    <a:pt x="540" y="146"/>
                    <a:pt x="540" y="146"/>
                  </a:cubicBezTo>
                  <a:cubicBezTo>
                    <a:pt x="581" y="146"/>
                    <a:pt x="581" y="146"/>
                    <a:pt x="581" y="146"/>
                  </a:cubicBezTo>
                  <a:cubicBezTo>
                    <a:pt x="581" y="60"/>
                    <a:pt x="581" y="60"/>
                    <a:pt x="581" y="60"/>
                  </a:cubicBezTo>
                  <a:cubicBezTo>
                    <a:pt x="540" y="60"/>
                    <a:pt x="540" y="60"/>
                    <a:pt x="540" y="60"/>
                  </a:cubicBezTo>
                  <a:cubicBezTo>
                    <a:pt x="537" y="27"/>
                    <a:pt x="510" y="0"/>
                    <a:pt x="476" y="0"/>
                  </a:cubicBezTo>
                  <a:close/>
                  <a:moveTo>
                    <a:pt x="549" y="114"/>
                  </a:moveTo>
                  <a:cubicBezTo>
                    <a:pt x="540" y="114"/>
                    <a:pt x="540" y="114"/>
                    <a:pt x="540" y="114"/>
                  </a:cubicBezTo>
                  <a:cubicBezTo>
                    <a:pt x="524" y="114"/>
                    <a:pt x="524" y="114"/>
                    <a:pt x="524" y="114"/>
                  </a:cubicBezTo>
                  <a:cubicBezTo>
                    <a:pt x="508" y="114"/>
                    <a:pt x="508" y="114"/>
                    <a:pt x="508" y="114"/>
                  </a:cubicBezTo>
                  <a:cubicBezTo>
                    <a:pt x="442" y="114"/>
                    <a:pt x="442" y="114"/>
                    <a:pt x="442" y="114"/>
                  </a:cubicBezTo>
                  <a:cubicBezTo>
                    <a:pt x="426" y="114"/>
                    <a:pt x="426" y="114"/>
                    <a:pt x="426" y="114"/>
                  </a:cubicBezTo>
                  <a:cubicBezTo>
                    <a:pt x="410" y="114"/>
                    <a:pt x="410" y="114"/>
                    <a:pt x="410" y="114"/>
                  </a:cubicBezTo>
                  <a:cubicBezTo>
                    <a:pt x="182" y="114"/>
                    <a:pt x="182" y="114"/>
                    <a:pt x="182" y="114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32" y="114"/>
                    <a:pt x="32" y="114"/>
                    <a:pt x="32" y="114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68" y="92"/>
                    <a:pt x="68" y="92"/>
                    <a:pt x="68" y="92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82" y="92"/>
                    <a:pt x="182" y="92"/>
                    <a:pt x="182" y="92"/>
                  </a:cubicBezTo>
                  <a:cubicBezTo>
                    <a:pt x="410" y="92"/>
                    <a:pt x="410" y="92"/>
                    <a:pt x="410" y="92"/>
                  </a:cubicBezTo>
                  <a:cubicBezTo>
                    <a:pt x="426" y="92"/>
                    <a:pt x="426" y="92"/>
                    <a:pt x="426" y="92"/>
                  </a:cubicBezTo>
                  <a:cubicBezTo>
                    <a:pt x="442" y="92"/>
                    <a:pt x="442" y="92"/>
                    <a:pt x="442" y="92"/>
                  </a:cubicBezTo>
                  <a:cubicBezTo>
                    <a:pt x="508" y="92"/>
                    <a:pt x="508" y="92"/>
                    <a:pt x="508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40" y="92"/>
                    <a:pt x="540" y="92"/>
                    <a:pt x="540" y="92"/>
                  </a:cubicBezTo>
                  <a:cubicBezTo>
                    <a:pt x="549" y="92"/>
                    <a:pt x="549" y="92"/>
                    <a:pt x="549" y="92"/>
                  </a:cubicBezTo>
                  <a:lnTo>
                    <a:pt x="549" y="114"/>
                  </a:lnTo>
                  <a:close/>
                  <a:moveTo>
                    <a:pt x="116" y="32"/>
                  </a:moveTo>
                  <a:cubicBezTo>
                    <a:pt x="117" y="32"/>
                    <a:pt x="117" y="32"/>
                    <a:pt x="117" y="32"/>
                  </a:cubicBezTo>
                  <a:cubicBezTo>
                    <a:pt x="134" y="32"/>
                    <a:pt x="147" y="44"/>
                    <a:pt x="149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7" y="44"/>
                    <a:pt x="100" y="32"/>
                    <a:pt x="116" y="32"/>
                  </a:cubicBezTo>
                  <a:close/>
                  <a:moveTo>
                    <a:pt x="475" y="32"/>
                  </a:moveTo>
                  <a:cubicBezTo>
                    <a:pt x="476" y="32"/>
                    <a:pt x="476" y="32"/>
                    <a:pt x="476" y="32"/>
                  </a:cubicBezTo>
                  <a:cubicBezTo>
                    <a:pt x="492" y="32"/>
                    <a:pt x="505" y="44"/>
                    <a:pt x="508" y="60"/>
                  </a:cubicBezTo>
                  <a:cubicBezTo>
                    <a:pt x="443" y="60"/>
                    <a:pt x="443" y="60"/>
                    <a:pt x="443" y="60"/>
                  </a:cubicBezTo>
                  <a:cubicBezTo>
                    <a:pt x="445" y="44"/>
                    <a:pt x="458" y="32"/>
                    <a:pt x="47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99">
              <a:extLst>
                <a:ext uri="{FF2B5EF4-FFF2-40B4-BE49-F238E27FC236}">
                  <a16:creationId xmlns:a16="http://schemas.microsoft.com/office/drawing/2014/main" id="{C1D646E2-238F-817F-C507-D36B37570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80988" y="5745163"/>
              <a:ext cx="150813" cy="150812"/>
            </a:xfrm>
            <a:custGeom>
              <a:avLst/>
              <a:gdLst>
                <a:gd name="T0" fmla="*/ 16 w 121"/>
                <a:gd name="T1" fmla="*/ 0 h 121"/>
                <a:gd name="T2" fmla="*/ 0 w 121"/>
                <a:gd name="T3" fmla="*/ 16 h 121"/>
                <a:gd name="T4" fmla="*/ 0 w 121"/>
                <a:gd name="T5" fmla="*/ 105 h 121"/>
                <a:gd name="T6" fmla="*/ 16 w 121"/>
                <a:gd name="T7" fmla="*/ 121 h 121"/>
                <a:gd name="T8" fmla="*/ 105 w 121"/>
                <a:gd name="T9" fmla="*/ 121 h 121"/>
                <a:gd name="T10" fmla="*/ 121 w 121"/>
                <a:gd name="T11" fmla="*/ 105 h 121"/>
                <a:gd name="T12" fmla="*/ 121 w 121"/>
                <a:gd name="T13" fmla="*/ 16 h 121"/>
                <a:gd name="T14" fmla="*/ 105 w 121"/>
                <a:gd name="T15" fmla="*/ 0 h 121"/>
                <a:gd name="T16" fmla="*/ 16 w 121"/>
                <a:gd name="T17" fmla="*/ 0 h 121"/>
                <a:gd name="T18" fmla="*/ 89 w 121"/>
                <a:gd name="T19" fmla="*/ 89 h 121"/>
                <a:gd name="T20" fmla="*/ 32 w 121"/>
                <a:gd name="T21" fmla="*/ 89 h 121"/>
                <a:gd name="T22" fmla="*/ 32 w 121"/>
                <a:gd name="T23" fmla="*/ 32 h 121"/>
                <a:gd name="T24" fmla="*/ 89 w 121"/>
                <a:gd name="T25" fmla="*/ 32 h 121"/>
                <a:gd name="T26" fmla="*/ 89 w 121"/>
                <a:gd name="T27" fmla="*/ 8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" h="121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14"/>
                    <a:pt x="7" y="121"/>
                    <a:pt x="16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14" y="121"/>
                    <a:pt x="121" y="114"/>
                    <a:pt x="121" y="105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1" y="7"/>
                    <a:pt x="114" y="0"/>
                    <a:pt x="105" y="0"/>
                  </a:cubicBezTo>
                  <a:lnTo>
                    <a:pt x="16" y="0"/>
                  </a:lnTo>
                  <a:close/>
                  <a:moveTo>
                    <a:pt x="89" y="89"/>
                  </a:moveTo>
                  <a:cubicBezTo>
                    <a:pt x="32" y="89"/>
                    <a:pt x="32" y="89"/>
                    <a:pt x="32" y="89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89" y="32"/>
                    <a:pt x="89" y="32"/>
                    <a:pt x="89" y="32"/>
                  </a:cubicBezTo>
                  <a:lnTo>
                    <a:pt x="89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75" name="Group 3074">
            <a:extLst>
              <a:ext uri="{FF2B5EF4-FFF2-40B4-BE49-F238E27FC236}">
                <a16:creationId xmlns:a16="http://schemas.microsoft.com/office/drawing/2014/main" id="{85DA21C1-D50F-5FEA-339D-B7208DD206B4}"/>
              </a:ext>
            </a:extLst>
          </p:cNvPr>
          <p:cNvGrpSpPr/>
          <p:nvPr/>
        </p:nvGrpSpPr>
        <p:grpSpPr>
          <a:xfrm>
            <a:off x="9233457" y="3188870"/>
            <a:ext cx="2646799" cy="706974"/>
            <a:chOff x="9664700" y="3218700"/>
            <a:chExt cx="2646799" cy="706974"/>
          </a:xfrm>
        </p:grpSpPr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B517F94C-82A4-7C95-6897-C7BC7429753F}"/>
                </a:ext>
              </a:extLst>
            </p:cNvPr>
            <p:cNvSpPr/>
            <p:nvPr/>
          </p:nvSpPr>
          <p:spPr>
            <a:xfrm>
              <a:off x="9963982" y="3218700"/>
              <a:ext cx="110801" cy="25004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Text Placeholder 3">
              <a:extLst>
                <a:ext uri="{FF2B5EF4-FFF2-40B4-BE49-F238E27FC236}">
                  <a16:creationId xmlns:a16="http://schemas.microsoft.com/office/drawing/2014/main" id="{5717400A-D942-AA55-5085-2FC0991293F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664700" y="3264223"/>
              <a:ext cx="2646799" cy="661451"/>
            </a:xfrm>
            <a:prstGeom prst="rect">
              <a:avLst/>
            </a:prstGeom>
            <a:ln>
              <a:noFill/>
            </a:ln>
          </p:spPr>
          <p:txBody>
            <a:bodyPr vert="horz" lIns="35995" tIns="0" rIns="35995" bIns="0" rtlCol="0" anchor="t">
              <a:noAutofit/>
            </a:bodyPr>
            <a:lstStyle/>
            <a:p>
              <a:pPr algn="ctr" defTabSz="914309"/>
              <a:r>
                <a:rPr lang="en-US" sz="12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uracy: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ze most recent advances in NLP domain to enhance accuracy for invoice checking</a:t>
              </a:r>
            </a:p>
            <a:p>
              <a:pPr algn="ctr" defTabSz="914309"/>
              <a:endPara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9" name="Oval 118">
            <a:extLst>
              <a:ext uri="{FF2B5EF4-FFF2-40B4-BE49-F238E27FC236}">
                <a16:creationId xmlns:a16="http://schemas.microsoft.com/office/drawing/2014/main" id="{CAC07907-9BAC-3512-CCA7-0B87F4E3570C}"/>
              </a:ext>
            </a:extLst>
          </p:cNvPr>
          <p:cNvSpPr/>
          <p:nvPr/>
        </p:nvSpPr>
        <p:spPr>
          <a:xfrm>
            <a:off x="8791071" y="3234393"/>
            <a:ext cx="106076" cy="942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E9610D45-49FA-6100-63B1-4232BB0FA59A}"/>
              </a:ext>
            </a:extLst>
          </p:cNvPr>
          <p:cNvSpPr/>
          <p:nvPr/>
        </p:nvSpPr>
        <p:spPr>
          <a:xfrm>
            <a:off x="8799780" y="4978685"/>
            <a:ext cx="106076" cy="9428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01A723E2-6F1E-4723-92AD-06A8B50DBDD6}"/>
              </a:ext>
            </a:extLst>
          </p:cNvPr>
          <p:cNvGrpSpPr/>
          <p:nvPr/>
        </p:nvGrpSpPr>
        <p:grpSpPr>
          <a:xfrm>
            <a:off x="9222508" y="4900807"/>
            <a:ext cx="2533930" cy="714470"/>
            <a:chOff x="9043791" y="1620267"/>
            <a:chExt cx="2533930" cy="714470"/>
          </a:xfrm>
        </p:grpSpPr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8CD9525D-9B75-12FF-F71D-FA39E9A0627B}"/>
                </a:ext>
              </a:extLst>
            </p:cNvPr>
            <p:cNvSpPr/>
            <p:nvPr/>
          </p:nvSpPr>
          <p:spPr>
            <a:xfrm>
              <a:off x="9113301" y="1620267"/>
              <a:ext cx="106076" cy="25004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Text Placeholder 3">
              <a:extLst>
                <a:ext uri="{FF2B5EF4-FFF2-40B4-BE49-F238E27FC236}">
                  <a16:creationId xmlns:a16="http://schemas.microsoft.com/office/drawing/2014/main" id="{6D4990C3-BD43-4D78-2568-85A04A8E49A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043791" y="1673286"/>
              <a:ext cx="2533930" cy="661451"/>
            </a:xfrm>
            <a:prstGeom prst="rect">
              <a:avLst/>
            </a:prstGeom>
            <a:ln>
              <a:noFill/>
            </a:ln>
          </p:spPr>
          <p:txBody>
            <a:bodyPr vert="horz" lIns="35995" tIns="0" rIns="35995" bIns="0" rtlCol="0" anchor="t">
              <a:noAutofit/>
            </a:bodyPr>
            <a:lstStyle/>
            <a:p>
              <a:pPr algn="ctr" defTabSz="914309"/>
              <a:r>
                <a:rPr lang="en-US" sz="12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usability: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able future system-wise integration such as connection with Opera</a:t>
              </a:r>
            </a:p>
            <a:p>
              <a:pPr algn="ctr" defTabSz="914309"/>
              <a:endPara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6" name="Gruppieren 215">
            <a:extLst>
              <a:ext uri="{FF2B5EF4-FFF2-40B4-BE49-F238E27FC236}">
                <a16:creationId xmlns:a16="http://schemas.microsoft.com/office/drawing/2014/main" id="{3B54C296-87D9-50A7-225D-D77FF0C7C2E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272985" y="4210938"/>
            <a:ext cx="503458" cy="517123"/>
            <a:chOff x="-16246475" y="1563688"/>
            <a:chExt cx="701675" cy="720725"/>
          </a:xfrm>
          <a:solidFill>
            <a:schemeClr val="tx1"/>
          </a:solidFill>
        </p:grpSpPr>
        <p:sp>
          <p:nvSpPr>
            <p:cNvPr id="127" name="Freeform 81">
              <a:extLst>
                <a:ext uri="{FF2B5EF4-FFF2-40B4-BE49-F238E27FC236}">
                  <a16:creationId xmlns:a16="http://schemas.microsoft.com/office/drawing/2014/main" id="{5BEDAE37-A00E-8EC3-D686-1489C245198D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246475" y="2030413"/>
              <a:ext cx="242888" cy="254000"/>
            </a:xfrm>
            <a:custGeom>
              <a:avLst/>
              <a:gdLst>
                <a:gd name="T0" fmla="*/ 0 w 132"/>
                <a:gd name="T1" fmla="*/ 139 h 139"/>
                <a:gd name="T2" fmla="*/ 61 w 132"/>
                <a:gd name="T3" fmla="*/ 98 h 139"/>
                <a:gd name="T4" fmla="*/ 51 w 132"/>
                <a:gd name="T5" fmla="*/ 117 h 139"/>
                <a:gd name="T6" fmla="*/ 132 w 132"/>
                <a:gd name="T7" fmla="*/ 44 h 139"/>
                <a:gd name="T8" fmla="*/ 85 w 132"/>
                <a:gd name="T9" fmla="*/ 0 h 139"/>
                <a:gd name="T10" fmla="*/ 25 w 132"/>
                <a:gd name="T11" fmla="*/ 77 h 139"/>
                <a:gd name="T12" fmla="*/ 52 w 132"/>
                <a:gd name="T13" fmla="*/ 55 h 139"/>
                <a:gd name="T14" fmla="*/ 0 w 13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9">
                  <a:moveTo>
                    <a:pt x="0" y="139"/>
                  </a:moveTo>
                  <a:cubicBezTo>
                    <a:pt x="27" y="123"/>
                    <a:pt x="37" y="115"/>
                    <a:pt x="61" y="98"/>
                  </a:cubicBezTo>
                  <a:cubicBezTo>
                    <a:pt x="60" y="103"/>
                    <a:pt x="53" y="112"/>
                    <a:pt x="51" y="117"/>
                  </a:cubicBezTo>
                  <a:cubicBezTo>
                    <a:pt x="97" y="95"/>
                    <a:pt x="121" y="77"/>
                    <a:pt x="132" y="44"/>
                  </a:cubicBezTo>
                  <a:cubicBezTo>
                    <a:pt x="119" y="44"/>
                    <a:pt x="89" y="15"/>
                    <a:pt x="85" y="0"/>
                  </a:cubicBezTo>
                  <a:cubicBezTo>
                    <a:pt x="61" y="9"/>
                    <a:pt x="42" y="30"/>
                    <a:pt x="25" y="77"/>
                  </a:cubicBezTo>
                  <a:cubicBezTo>
                    <a:pt x="32" y="73"/>
                    <a:pt x="47" y="56"/>
                    <a:pt x="52" y="55"/>
                  </a:cubicBezTo>
                  <a:cubicBezTo>
                    <a:pt x="34" y="84"/>
                    <a:pt x="17" y="111"/>
                    <a:pt x="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2" name="Freeform 82">
              <a:extLst>
                <a:ext uri="{FF2B5EF4-FFF2-40B4-BE49-F238E27FC236}">
                  <a16:creationId xmlns:a16="http://schemas.microsoft.com/office/drawing/2014/main" id="{405CA2FA-13EA-A2A9-5D5E-7351ADB7BE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194088" y="1563688"/>
              <a:ext cx="649288" cy="647700"/>
            </a:xfrm>
            <a:custGeom>
              <a:avLst/>
              <a:gdLst>
                <a:gd name="T0" fmla="*/ 354 w 354"/>
                <a:gd name="T1" fmla="*/ 0 h 353"/>
                <a:gd name="T2" fmla="*/ 192 w 354"/>
                <a:gd name="T3" fmla="*/ 74 h 353"/>
                <a:gd name="T4" fmla="*/ 71 w 354"/>
                <a:gd name="T5" fmla="*/ 219 h 353"/>
                <a:gd name="T6" fmla="*/ 94 w 354"/>
                <a:gd name="T7" fmla="*/ 260 h 353"/>
                <a:gd name="T8" fmla="*/ 135 w 354"/>
                <a:gd name="T9" fmla="*/ 283 h 353"/>
                <a:gd name="T10" fmla="*/ 279 w 354"/>
                <a:gd name="T11" fmla="*/ 162 h 353"/>
                <a:gd name="T12" fmla="*/ 354 w 354"/>
                <a:gd name="T13" fmla="*/ 0 h 353"/>
                <a:gd name="T14" fmla="*/ 219 w 354"/>
                <a:gd name="T15" fmla="*/ 135 h 353"/>
                <a:gd name="T16" fmla="*/ 219 w 354"/>
                <a:gd name="T17" fmla="*/ 84 h 353"/>
                <a:gd name="T18" fmla="*/ 270 w 354"/>
                <a:gd name="T19" fmla="*/ 84 h 353"/>
                <a:gd name="T20" fmla="*/ 270 w 354"/>
                <a:gd name="T21" fmla="*/ 135 h 353"/>
                <a:gd name="T22" fmla="*/ 219 w 354"/>
                <a:gd name="T23" fmla="*/ 135 h 353"/>
                <a:gd name="T24" fmla="*/ 216 w 354"/>
                <a:gd name="T25" fmla="*/ 241 h 353"/>
                <a:gd name="T26" fmla="*/ 147 w 354"/>
                <a:gd name="T27" fmla="*/ 294 h 353"/>
                <a:gd name="T28" fmla="*/ 155 w 354"/>
                <a:gd name="T29" fmla="*/ 353 h 353"/>
                <a:gd name="T30" fmla="*/ 186 w 354"/>
                <a:gd name="T31" fmla="*/ 331 h 353"/>
                <a:gd name="T32" fmla="*/ 216 w 354"/>
                <a:gd name="T33" fmla="*/ 241 h 353"/>
                <a:gd name="T34" fmla="*/ 22 w 354"/>
                <a:gd name="T35" fmla="*/ 168 h 353"/>
                <a:gd name="T36" fmla="*/ 0 w 354"/>
                <a:gd name="T37" fmla="*/ 199 h 353"/>
                <a:gd name="T38" fmla="*/ 59 w 354"/>
                <a:gd name="T39" fmla="*/ 207 h 353"/>
                <a:gd name="T40" fmla="*/ 113 w 354"/>
                <a:gd name="T41" fmla="*/ 138 h 353"/>
                <a:gd name="T42" fmla="*/ 22 w 354"/>
                <a:gd name="T4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4" h="353">
                  <a:moveTo>
                    <a:pt x="354" y="0"/>
                  </a:moveTo>
                  <a:cubicBezTo>
                    <a:pt x="306" y="11"/>
                    <a:pt x="241" y="26"/>
                    <a:pt x="192" y="74"/>
                  </a:cubicBezTo>
                  <a:cubicBezTo>
                    <a:pt x="144" y="123"/>
                    <a:pt x="117" y="156"/>
                    <a:pt x="71" y="219"/>
                  </a:cubicBezTo>
                  <a:cubicBezTo>
                    <a:pt x="71" y="228"/>
                    <a:pt x="80" y="246"/>
                    <a:pt x="94" y="260"/>
                  </a:cubicBezTo>
                  <a:cubicBezTo>
                    <a:pt x="108" y="274"/>
                    <a:pt x="126" y="283"/>
                    <a:pt x="135" y="283"/>
                  </a:cubicBezTo>
                  <a:cubicBezTo>
                    <a:pt x="197" y="237"/>
                    <a:pt x="231" y="210"/>
                    <a:pt x="279" y="162"/>
                  </a:cubicBezTo>
                  <a:cubicBezTo>
                    <a:pt x="328" y="113"/>
                    <a:pt x="343" y="48"/>
                    <a:pt x="354" y="0"/>
                  </a:cubicBezTo>
                  <a:close/>
                  <a:moveTo>
                    <a:pt x="219" y="135"/>
                  </a:moveTo>
                  <a:cubicBezTo>
                    <a:pt x="205" y="121"/>
                    <a:pt x="205" y="98"/>
                    <a:pt x="219" y="84"/>
                  </a:cubicBezTo>
                  <a:cubicBezTo>
                    <a:pt x="233" y="70"/>
                    <a:pt x="256" y="70"/>
                    <a:pt x="270" y="84"/>
                  </a:cubicBezTo>
                  <a:cubicBezTo>
                    <a:pt x="284" y="98"/>
                    <a:pt x="284" y="121"/>
                    <a:pt x="270" y="135"/>
                  </a:cubicBezTo>
                  <a:cubicBezTo>
                    <a:pt x="256" y="149"/>
                    <a:pt x="233" y="149"/>
                    <a:pt x="219" y="135"/>
                  </a:cubicBezTo>
                  <a:close/>
                  <a:moveTo>
                    <a:pt x="216" y="241"/>
                  </a:moveTo>
                  <a:cubicBezTo>
                    <a:pt x="189" y="264"/>
                    <a:pt x="173" y="276"/>
                    <a:pt x="147" y="294"/>
                  </a:cubicBezTo>
                  <a:cubicBezTo>
                    <a:pt x="153" y="325"/>
                    <a:pt x="155" y="353"/>
                    <a:pt x="155" y="353"/>
                  </a:cubicBezTo>
                  <a:cubicBezTo>
                    <a:pt x="155" y="353"/>
                    <a:pt x="166" y="347"/>
                    <a:pt x="186" y="331"/>
                  </a:cubicBezTo>
                  <a:cubicBezTo>
                    <a:pt x="203" y="298"/>
                    <a:pt x="209" y="272"/>
                    <a:pt x="216" y="241"/>
                  </a:cubicBezTo>
                  <a:close/>
                  <a:moveTo>
                    <a:pt x="22" y="168"/>
                  </a:moveTo>
                  <a:cubicBezTo>
                    <a:pt x="7" y="188"/>
                    <a:pt x="0" y="199"/>
                    <a:pt x="0" y="199"/>
                  </a:cubicBezTo>
                  <a:cubicBezTo>
                    <a:pt x="0" y="199"/>
                    <a:pt x="29" y="201"/>
                    <a:pt x="59" y="207"/>
                  </a:cubicBezTo>
                  <a:cubicBezTo>
                    <a:pt x="78" y="181"/>
                    <a:pt x="90" y="165"/>
                    <a:pt x="113" y="138"/>
                  </a:cubicBezTo>
                  <a:cubicBezTo>
                    <a:pt x="81" y="145"/>
                    <a:pt x="56" y="151"/>
                    <a:pt x="2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3082" name="Connector: Elbow 3081">
            <a:extLst>
              <a:ext uri="{FF2B5EF4-FFF2-40B4-BE49-F238E27FC236}">
                <a16:creationId xmlns:a16="http://schemas.microsoft.com/office/drawing/2014/main" id="{FD7DD778-1EFB-25C6-46FB-4C7EEDD99F78}"/>
              </a:ext>
            </a:extLst>
          </p:cNvPr>
          <p:cNvCxnSpPr>
            <a:cxnSpLocks/>
            <a:stCxn id="43" idx="2"/>
          </p:cNvCxnSpPr>
          <p:nvPr/>
        </p:nvCxnSpPr>
        <p:spPr>
          <a:xfrm rot="16200000" flipH="1">
            <a:off x="961882" y="4068235"/>
            <a:ext cx="1164897" cy="1418341"/>
          </a:xfrm>
          <a:prstGeom prst="bentConnector2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13" name="Group 3112">
            <a:extLst>
              <a:ext uri="{FF2B5EF4-FFF2-40B4-BE49-F238E27FC236}">
                <a16:creationId xmlns:a16="http://schemas.microsoft.com/office/drawing/2014/main" id="{D0DB62BC-9C7C-900D-C1B7-2F7121C5B26B}"/>
              </a:ext>
            </a:extLst>
          </p:cNvPr>
          <p:cNvGrpSpPr/>
          <p:nvPr/>
        </p:nvGrpSpPr>
        <p:grpSpPr>
          <a:xfrm>
            <a:off x="2253501" y="4545814"/>
            <a:ext cx="785149" cy="1652163"/>
            <a:chOff x="2228017" y="4545815"/>
            <a:chExt cx="785149" cy="1227968"/>
          </a:xfrm>
        </p:grpSpPr>
        <p:cxnSp>
          <p:nvCxnSpPr>
            <p:cNvPr id="3102" name="Connector: Elbow 3101">
              <a:extLst>
                <a:ext uri="{FF2B5EF4-FFF2-40B4-BE49-F238E27FC236}">
                  <a16:creationId xmlns:a16="http://schemas.microsoft.com/office/drawing/2014/main" id="{272ACA10-6049-C662-E7E3-C7AE5185E7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8017" y="4545815"/>
              <a:ext cx="785149" cy="605035"/>
            </a:xfrm>
            <a:prstGeom prst="bentConnector3">
              <a:avLst/>
            </a:prstGeom>
            <a:ln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4" name="Connector: Elbow 3103">
              <a:extLst>
                <a:ext uri="{FF2B5EF4-FFF2-40B4-BE49-F238E27FC236}">
                  <a16:creationId xmlns:a16="http://schemas.microsoft.com/office/drawing/2014/main" id="{33994C96-BF07-D780-8E8D-5D35EB082B4C}"/>
                </a:ext>
              </a:extLst>
            </p:cNvPr>
            <p:cNvCxnSpPr>
              <a:cxnSpLocks/>
            </p:cNvCxnSpPr>
            <p:nvPr/>
          </p:nvCxnSpPr>
          <p:spPr>
            <a:xfrm>
              <a:off x="2228017" y="5150850"/>
              <a:ext cx="785149" cy="622933"/>
            </a:xfrm>
            <a:prstGeom prst="bentConnector3">
              <a:avLst/>
            </a:prstGeom>
            <a:ln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14" name="TextBox 3113">
            <a:extLst>
              <a:ext uri="{FF2B5EF4-FFF2-40B4-BE49-F238E27FC236}">
                <a16:creationId xmlns:a16="http://schemas.microsoft.com/office/drawing/2014/main" id="{6BD82919-2564-ACB8-61B5-B1951F119C90}"/>
              </a:ext>
            </a:extLst>
          </p:cNvPr>
          <p:cNvSpPr txBox="1"/>
          <p:nvPr/>
        </p:nvSpPr>
        <p:spPr>
          <a:xfrm>
            <a:off x="2724447" y="4632331"/>
            <a:ext cx="58427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03399"/>
                </a:solidFill>
              </a:rPr>
              <a:t>大发票与结算单总金额是否一致</a:t>
            </a:r>
            <a:endParaRPr lang="en-US" altLang="zh-CN" dirty="0">
              <a:solidFill>
                <a:srgbClr val="003399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03399"/>
                </a:solidFill>
              </a:rPr>
              <a:t>结算单与报价单会议名称，地点，时间是否一致</a:t>
            </a:r>
            <a:endParaRPr lang="en-US" altLang="zh-CN" dirty="0">
              <a:solidFill>
                <a:srgbClr val="003399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03399"/>
                </a:solidFill>
              </a:rPr>
              <a:t>报价单中盖章是否存在</a:t>
            </a:r>
            <a:endParaRPr lang="en-US" altLang="zh-CN" dirty="0">
              <a:solidFill>
                <a:srgbClr val="003399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003399"/>
                </a:solidFill>
              </a:rPr>
              <a:t>Opera</a:t>
            </a:r>
            <a:r>
              <a:rPr lang="zh-CN" altLang="en-US" dirty="0">
                <a:solidFill>
                  <a:srgbClr val="003399"/>
                </a:solidFill>
              </a:rPr>
              <a:t>确认邮件中发件人，收件人与会议详情是否存在</a:t>
            </a:r>
            <a:endParaRPr lang="en-US" altLang="zh-CN" dirty="0">
              <a:solidFill>
                <a:srgbClr val="003399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03399"/>
                </a:solidFill>
              </a:rPr>
              <a:t>结算单中各发票金额是否与小发票中一一对应</a:t>
            </a:r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5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710630-9DEA-4594-9757-38D3FF9C5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Main challenges come from input dat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60EA9B-DCD6-43F2-92C3-4717DCB69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C0DB9189-F20F-4800-8073-62B6D6F85967}"/>
              </a:ext>
            </a:extLst>
          </p:cNvPr>
          <p:cNvSpPr txBox="1">
            <a:spLocks/>
          </p:cNvSpPr>
          <p:nvPr/>
        </p:nvSpPr>
        <p:spPr bwMode="gray">
          <a:xfrm>
            <a:off x="196637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AD9179-7A6B-4268-BEB2-F3B8EB06115B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6697B0-BFC5-4F3E-860C-A94C5E81D6EC}"/>
              </a:ext>
            </a:extLst>
          </p:cNvPr>
          <p:cNvSpPr/>
          <p:nvPr/>
        </p:nvSpPr>
        <p:spPr bwMode="gray">
          <a:xfrm>
            <a:off x="5398429" y="977117"/>
            <a:ext cx="2069512" cy="3359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CHALLE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AC1CC2-A8F7-4F0B-86CC-AE13596652CE}"/>
              </a:ext>
            </a:extLst>
          </p:cNvPr>
          <p:cNvSpPr/>
          <p:nvPr/>
        </p:nvSpPr>
        <p:spPr bwMode="gray">
          <a:xfrm>
            <a:off x="8462719" y="986754"/>
            <a:ext cx="3729281" cy="3359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APPROA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BF54E9-293E-4334-AC14-7B121CB0F7DC}"/>
              </a:ext>
            </a:extLst>
          </p:cNvPr>
          <p:cNvSpPr/>
          <p:nvPr/>
        </p:nvSpPr>
        <p:spPr bwMode="gray">
          <a:xfrm>
            <a:off x="5218036" y="1393271"/>
            <a:ext cx="3045234" cy="1969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rtlCol="0" anchor="t">
            <a:spAutoFit/>
          </a:bodyPr>
          <a:lstStyle/>
          <a:p>
            <a:pPr marL="314325" indent="-228600">
              <a:spcAft>
                <a:spcPts val="600"/>
              </a:spcAft>
              <a:buAutoNum type="arabicPeriod"/>
            </a:pPr>
            <a:r>
              <a:rPr lang="en-US" sz="1400" dirty="0">
                <a:solidFill>
                  <a:schemeClr val="accent1"/>
                </a:solidFill>
              </a:rPr>
              <a:t>Low data quality. Scanned printed version of invoices and sheets, with </a:t>
            </a:r>
            <a:r>
              <a:rPr lang="en-US" altLang="zh-CN" sz="1400" dirty="0">
                <a:solidFill>
                  <a:schemeClr val="accent1"/>
                </a:solidFill>
              </a:rPr>
              <a:t>blurry stamping</a:t>
            </a:r>
            <a:endParaRPr lang="en-US" sz="1400" dirty="0">
              <a:solidFill>
                <a:schemeClr val="accent1"/>
              </a:solidFill>
            </a:endParaRPr>
          </a:p>
          <a:p>
            <a:pPr marL="314325" indent="-228600">
              <a:spcAft>
                <a:spcPts val="600"/>
              </a:spcAft>
              <a:buAutoNum type="arabicPeriod"/>
            </a:pPr>
            <a:r>
              <a:rPr lang="en-US" sz="1400" dirty="0">
                <a:solidFill>
                  <a:schemeClr val="accent1"/>
                </a:solidFill>
              </a:rPr>
              <a:t>Unordered pages, lack of crucial words that helps identifying the target pages</a:t>
            </a:r>
          </a:p>
          <a:p>
            <a:pPr marL="314325" indent="-228600">
              <a:spcAft>
                <a:spcPts val="600"/>
              </a:spcAft>
              <a:buAutoNum type="arabicPeriod"/>
            </a:pPr>
            <a:r>
              <a:rPr lang="en-US" sz="1400" dirty="0">
                <a:solidFill>
                  <a:schemeClr val="accent1"/>
                </a:solidFill>
              </a:rPr>
              <a:t>Large number of forms/numbers, high demand on model accurac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59EC83A-072F-48C6-8A9E-3A9A3D99DD99}"/>
              </a:ext>
            </a:extLst>
          </p:cNvPr>
          <p:cNvCxnSpPr>
            <a:cxnSpLocks/>
          </p:cNvCxnSpPr>
          <p:nvPr/>
        </p:nvCxnSpPr>
        <p:spPr bwMode="gray">
          <a:xfrm>
            <a:off x="5363911" y="1297570"/>
            <a:ext cx="2847762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639578-36C7-47F0-9C8C-21AD9B32C61D}"/>
              </a:ext>
            </a:extLst>
          </p:cNvPr>
          <p:cNvCxnSpPr>
            <a:cxnSpLocks/>
          </p:cNvCxnSpPr>
          <p:nvPr/>
        </p:nvCxnSpPr>
        <p:spPr bwMode="gray">
          <a:xfrm>
            <a:off x="8447999" y="1307207"/>
            <a:ext cx="3744000" cy="0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F25A805B-7BF7-4D46-986B-9D4308D53F1A}"/>
              </a:ext>
            </a:extLst>
          </p:cNvPr>
          <p:cNvSpPr/>
          <p:nvPr/>
        </p:nvSpPr>
        <p:spPr bwMode="gray">
          <a:xfrm>
            <a:off x="8300490" y="1319018"/>
            <a:ext cx="3833280" cy="32624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rtlCol="0" anchor="t">
            <a:spAutoFit/>
          </a:bodyPr>
          <a:lstStyle/>
          <a:p>
            <a:pPr marL="285750" indent="-2000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Framework Design:</a:t>
            </a:r>
            <a:r>
              <a:rPr lang="en-US" sz="1400" dirty="0">
                <a:solidFill>
                  <a:schemeClr val="accent1"/>
                </a:solidFill>
              </a:rPr>
              <a:t> Tried different combinations of models and compared the performance. Resulted in the one with the best performance: OCR and GPT.</a:t>
            </a:r>
          </a:p>
          <a:p>
            <a:pPr marL="285750" indent="-2000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Model Selection: </a:t>
            </a:r>
            <a:r>
              <a:rPr lang="en-US" sz="1400" dirty="0">
                <a:solidFill>
                  <a:schemeClr val="accent1"/>
                </a:solidFill>
              </a:rPr>
              <a:t>Compared different large language models to see the performance of information extraction: GPT 4 turbo, GPT 4-vision preview, GPT 4o, Claude 3. Resulted in the model with best accuracy-time balance: GPT 4o </a:t>
            </a:r>
          </a:p>
          <a:p>
            <a:pPr marL="285750" indent="-20002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accent1"/>
                </a:solidFill>
              </a:rPr>
              <a:t>User Experience: </a:t>
            </a:r>
            <a:r>
              <a:rPr lang="en-US" sz="1400" dirty="0">
                <a:solidFill>
                  <a:schemeClr val="accent1"/>
                </a:solidFill>
              </a:rPr>
              <a:t>Meet with EDM colleagues regularly to acquire user experience and feedback. Then update our model for better generalization.</a:t>
            </a:r>
            <a:endParaRPr lang="en-US" sz="1400" b="1" baseline="30000" dirty="0">
              <a:solidFill>
                <a:schemeClr val="accent1"/>
              </a:solidFill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E96CA789-C78E-4AA3-BA02-E4223A945B82}"/>
              </a:ext>
            </a:extLst>
          </p:cNvPr>
          <p:cNvSpPr/>
          <p:nvPr/>
        </p:nvSpPr>
        <p:spPr bwMode="gray">
          <a:xfrm>
            <a:off x="8286678" y="904047"/>
            <a:ext cx="3865418" cy="4183308"/>
          </a:xfrm>
          <a:prstGeom prst="parallelogram">
            <a:avLst>
              <a:gd name="adj" fmla="val 4750"/>
            </a:avLst>
          </a:prstGeom>
          <a:noFill/>
          <a:ln w="9525">
            <a:gradFill>
              <a:gsLst>
                <a:gs pos="0">
                  <a:schemeClr val="accent1"/>
                </a:gs>
                <a:gs pos="100000">
                  <a:srgbClr val="F2F2F2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C8A0495-6E30-4838-A652-3194E0BC3FD9}"/>
              </a:ext>
            </a:extLst>
          </p:cNvPr>
          <p:cNvSpPr/>
          <p:nvPr/>
        </p:nvSpPr>
        <p:spPr bwMode="gray">
          <a:xfrm>
            <a:off x="8257033" y="1810181"/>
            <a:ext cx="3876737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rtlCol="0" anchor="t">
            <a:spAutoFit/>
          </a:bodyPr>
          <a:lstStyle/>
          <a:p>
            <a:pPr marL="85725">
              <a:spcAft>
                <a:spcPts val="600"/>
              </a:spcAft>
            </a:pP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4" name="Subtitle 1">
            <a:extLst>
              <a:ext uri="{FF2B5EF4-FFF2-40B4-BE49-F238E27FC236}">
                <a16:creationId xmlns:a16="http://schemas.microsoft.com/office/drawing/2014/main" id="{4DFB129D-0E68-4337-8356-ECC756F8B545}"/>
              </a:ext>
            </a:extLst>
          </p:cNvPr>
          <p:cNvSpPr txBox="1">
            <a:spLocks/>
          </p:cNvSpPr>
          <p:nvPr/>
        </p:nvSpPr>
        <p:spPr>
          <a:xfrm>
            <a:off x="982615" y="1138299"/>
            <a:ext cx="10798461" cy="2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FA5014-EA64-BBF6-D2DB-537DF2DD5B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279" t="12569"/>
          <a:stretch/>
        </p:blipFill>
        <p:spPr>
          <a:xfrm>
            <a:off x="133687" y="1154711"/>
            <a:ext cx="5084349" cy="30444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01CD03-EBDB-B6A5-ADA3-3707AE7DDBE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445" r="2277"/>
          <a:stretch/>
        </p:blipFill>
        <p:spPr>
          <a:xfrm>
            <a:off x="316883" y="3382513"/>
            <a:ext cx="6401684" cy="3483139"/>
          </a:xfrm>
          <a:prstGeom prst="rect">
            <a:avLst/>
          </a:prstGeom>
        </p:spPr>
      </p:pic>
      <p:sp>
        <p:nvSpPr>
          <p:cNvPr id="19" name="Parallelogram 18">
            <a:extLst>
              <a:ext uri="{FF2B5EF4-FFF2-40B4-BE49-F238E27FC236}">
                <a16:creationId xmlns:a16="http://schemas.microsoft.com/office/drawing/2014/main" id="{0E0BD4BD-08A7-4E38-9268-A137C89FD166}"/>
              </a:ext>
            </a:extLst>
          </p:cNvPr>
          <p:cNvSpPr/>
          <p:nvPr/>
        </p:nvSpPr>
        <p:spPr bwMode="gray">
          <a:xfrm>
            <a:off x="5198430" y="894410"/>
            <a:ext cx="3040275" cy="4183308"/>
          </a:xfrm>
          <a:prstGeom prst="parallelogram">
            <a:avLst>
              <a:gd name="adj" fmla="val 6997"/>
            </a:avLst>
          </a:prstGeom>
          <a:noFill/>
          <a:ln w="9525">
            <a:gradFill>
              <a:gsLst>
                <a:gs pos="0">
                  <a:schemeClr val="accent1"/>
                </a:gs>
                <a:gs pos="100000">
                  <a:srgbClr val="F2F2F2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B735007-5E02-AF6B-D720-5D72BFAEE3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1408" y="3429000"/>
            <a:ext cx="5868407" cy="3404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11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710630-9DEA-4594-9757-38D3FF9C5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Our project outputs a user-friendly web interface</a:t>
            </a:r>
            <a:endParaRPr lang="en-US" sz="3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60EA9B-DCD6-43F2-92C3-4717DCB69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C0DB9189-F20F-4800-8073-62B6D6F85967}"/>
              </a:ext>
            </a:extLst>
          </p:cNvPr>
          <p:cNvSpPr txBox="1">
            <a:spLocks/>
          </p:cNvSpPr>
          <p:nvPr/>
        </p:nvSpPr>
        <p:spPr bwMode="gray">
          <a:xfrm>
            <a:off x="196637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AD9179-7A6B-4268-BEB2-F3B8EB06115B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24" name="Subtitle 1">
            <a:extLst>
              <a:ext uri="{FF2B5EF4-FFF2-40B4-BE49-F238E27FC236}">
                <a16:creationId xmlns:a16="http://schemas.microsoft.com/office/drawing/2014/main" id="{4DFB129D-0E68-4337-8356-ECC756F8B545}"/>
              </a:ext>
            </a:extLst>
          </p:cNvPr>
          <p:cNvSpPr txBox="1">
            <a:spLocks/>
          </p:cNvSpPr>
          <p:nvPr/>
        </p:nvSpPr>
        <p:spPr>
          <a:xfrm>
            <a:off x="982615" y="1138299"/>
            <a:ext cx="10798461" cy="2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i="1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EAAA9EA-6E95-BD0F-8AED-2F39C0A46EB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4231"/>
          <a:stretch/>
        </p:blipFill>
        <p:spPr>
          <a:xfrm>
            <a:off x="558235" y="1110970"/>
            <a:ext cx="4037346" cy="56105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8CFDD6-B5E2-ECF5-654C-27B3BB88AA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0887" y="1036167"/>
            <a:ext cx="5325710" cy="569147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719FA62-67A0-4F94-512E-587657E402DB}"/>
              </a:ext>
            </a:extLst>
          </p:cNvPr>
          <p:cNvSpPr txBox="1"/>
          <p:nvPr/>
        </p:nvSpPr>
        <p:spPr>
          <a:xfrm>
            <a:off x="9580869" y="4702983"/>
            <a:ext cx="24929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60mins -&gt; 15mins</a:t>
            </a:r>
          </a:p>
        </p:txBody>
      </p:sp>
    </p:spTree>
    <p:extLst>
      <p:ext uri="{BB962C8B-B14F-4D97-AF65-F5344CB8AC3E}">
        <p14:creationId xmlns:p14="http://schemas.microsoft.com/office/powerpoint/2010/main" val="149929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710630-9DEA-4594-9757-38D3FF9C5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We conducted detailed UAT. Some reached expectation but some still needs further optimization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60EA9B-DCD6-43F2-92C3-4717DCB69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C0DB9189-F20F-4800-8073-62B6D6F85967}"/>
              </a:ext>
            </a:extLst>
          </p:cNvPr>
          <p:cNvSpPr txBox="1">
            <a:spLocks/>
          </p:cNvSpPr>
          <p:nvPr/>
        </p:nvSpPr>
        <p:spPr bwMode="gray">
          <a:xfrm>
            <a:off x="196637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AD9179-7A6B-4268-BEB2-F3B8EB06115B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24" name="Subtitle 1">
            <a:extLst>
              <a:ext uri="{FF2B5EF4-FFF2-40B4-BE49-F238E27FC236}">
                <a16:creationId xmlns:a16="http://schemas.microsoft.com/office/drawing/2014/main" id="{4DFB129D-0E68-4337-8356-ECC756F8B545}"/>
              </a:ext>
            </a:extLst>
          </p:cNvPr>
          <p:cNvSpPr txBox="1">
            <a:spLocks/>
          </p:cNvSpPr>
          <p:nvPr/>
        </p:nvSpPr>
        <p:spPr>
          <a:xfrm>
            <a:off x="6611628" y="5473606"/>
            <a:ext cx="10798461" cy="2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i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D2745C-10BD-210D-9D1F-3331CEC638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888" y="1371924"/>
            <a:ext cx="3059806" cy="116992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F4DA0F7-47E3-C0C3-723E-EE4F2000BF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944" y="2541851"/>
            <a:ext cx="3047750" cy="117956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62A9FCC-8751-1FFF-BCFA-5A03B52048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13694" y="1371923"/>
            <a:ext cx="3059806" cy="112628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BA9E3D0-CD2B-B39E-227B-5E125F8415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13694" y="2522767"/>
            <a:ext cx="3047750" cy="119643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2F02369-E26E-AC9C-E2A2-B7C68484D52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63600" y="1095147"/>
            <a:ext cx="4026107" cy="154948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BC2FB31-B30B-05EB-0EFF-729172813BE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83399" y="4047404"/>
            <a:ext cx="4867275" cy="249150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59D8756-D925-08B5-9C23-2BA71884065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88962" y="4035135"/>
            <a:ext cx="5319640" cy="250377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EFCE070C-AEAD-989B-4498-40309FC827D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63600" y="2609425"/>
            <a:ext cx="4222756" cy="1532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5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gray"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 dirty="0"/>
          </a:p>
        </p:txBody>
      </p:sp>
      <p:sp>
        <p:nvSpPr>
          <p:cNvPr id="54" name="Text Placeholder 3"/>
          <p:cNvSpPr txBox="1">
            <a:spLocks/>
          </p:cNvSpPr>
          <p:nvPr/>
        </p:nvSpPr>
        <p:spPr bwMode="gray">
          <a:xfrm>
            <a:off x="3473593" y="3214917"/>
            <a:ext cx="2298214" cy="897436"/>
          </a:xfrm>
          <a:prstGeom prst="rect">
            <a:avLst/>
          </a:prstGeom>
          <a:ln>
            <a:noFill/>
          </a:ln>
        </p:spPr>
        <p:txBody>
          <a:bodyPr vert="horz" lIns="35995" tIns="0" rIns="35995" bIns="0" rtlCol="0" anchor="t">
            <a:noAutofit/>
          </a:bodyPr>
          <a:lstStyle>
            <a:defPPr>
              <a:defRPr lang="en-US"/>
            </a:defPPr>
            <a:lvl2pPr marL="0" lvl="1" algn="ctr" defTabSz="914418">
              <a:buSzPct val="100000"/>
              <a:defRPr sz="1600" b="1"/>
            </a:lvl2pPr>
          </a:lstStyle>
          <a:p>
            <a:pPr lvl="1" defTabSz="914327"/>
            <a:r>
              <a:rPr lang="en-US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Opera integration </a:t>
            </a:r>
          </a:p>
        </p:txBody>
      </p:sp>
      <p:sp>
        <p:nvSpPr>
          <p:cNvPr id="57" name="Text Placeholder 3"/>
          <p:cNvSpPr txBox="1">
            <a:spLocks/>
          </p:cNvSpPr>
          <p:nvPr/>
        </p:nvSpPr>
        <p:spPr bwMode="gray">
          <a:xfrm>
            <a:off x="679611" y="3214917"/>
            <a:ext cx="2456989" cy="703940"/>
          </a:xfrm>
          <a:prstGeom prst="rect">
            <a:avLst/>
          </a:prstGeom>
          <a:ln>
            <a:noFill/>
          </a:ln>
        </p:spPr>
        <p:txBody>
          <a:bodyPr vert="horz" lIns="35995" tIns="0" rIns="35995" bIns="0" rtlCol="0" anchor="t">
            <a:noAutofit/>
          </a:bodyPr>
          <a:lstStyle>
            <a:defPPr>
              <a:defRPr lang="en-US"/>
            </a:defPPr>
            <a:lvl2pPr marL="0" lvl="1" algn="ctr" defTabSz="914418">
              <a:buSzPct val="100000"/>
              <a:defRPr sz="1600" b="1"/>
            </a:lvl2pPr>
          </a:lstStyle>
          <a:p>
            <a:pPr lvl="1" defTabSz="914327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: </a:t>
            </a:r>
            <a:r>
              <a:rPr lang="en-US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accuracy based on UAT feedback</a:t>
            </a:r>
          </a:p>
        </p:txBody>
      </p:sp>
      <p:grpSp>
        <p:nvGrpSpPr>
          <p:cNvPr id="84" name="Gruppieren 215">
            <a:extLst>
              <a:ext uri="{FF2B5EF4-FFF2-40B4-BE49-F238E27FC236}">
                <a16:creationId xmlns:a16="http://schemas.microsoft.com/office/drawing/2014/main" id="{ADE48AF4-011F-443A-98FA-EA89C99B7C3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609030" y="2286394"/>
            <a:ext cx="556597" cy="571705"/>
            <a:chOff x="-16246475" y="1563688"/>
            <a:chExt cx="701675" cy="720725"/>
          </a:xfrm>
          <a:solidFill>
            <a:schemeClr val="tx1"/>
          </a:solidFill>
        </p:grpSpPr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85CD5A3B-92DC-43A6-820C-DD58960DE512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246475" y="2030413"/>
              <a:ext cx="242888" cy="254000"/>
            </a:xfrm>
            <a:custGeom>
              <a:avLst/>
              <a:gdLst>
                <a:gd name="T0" fmla="*/ 0 w 132"/>
                <a:gd name="T1" fmla="*/ 139 h 139"/>
                <a:gd name="T2" fmla="*/ 61 w 132"/>
                <a:gd name="T3" fmla="*/ 98 h 139"/>
                <a:gd name="T4" fmla="*/ 51 w 132"/>
                <a:gd name="T5" fmla="*/ 117 h 139"/>
                <a:gd name="T6" fmla="*/ 132 w 132"/>
                <a:gd name="T7" fmla="*/ 44 h 139"/>
                <a:gd name="T8" fmla="*/ 85 w 132"/>
                <a:gd name="T9" fmla="*/ 0 h 139"/>
                <a:gd name="T10" fmla="*/ 25 w 132"/>
                <a:gd name="T11" fmla="*/ 77 h 139"/>
                <a:gd name="T12" fmla="*/ 52 w 132"/>
                <a:gd name="T13" fmla="*/ 55 h 139"/>
                <a:gd name="T14" fmla="*/ 0 w 13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9">
                  <a:moveTo>
                    <a:pt x="0" y="139"/>
                  </a:moveTo>
                  <a:cubicBezTo>
                    <a:pt x="27" y="123"/>
                    <a:pt x="37" y="115"/>
                    <a:pt x="61" y="98"/>
                  </a:cubicBezTo>
                  <a:cubicBezTo>
                    <a:pt x="60" y="103"/>
                    <a:pt x="53" y="112"/>
                    <a:pt x="51" y="117"/>
                  </a:cubicBezTo>
                  <a:cubicBezTo>
                    <a:pt x="97" y="95"/>
                    <a:pt x="121" y="77"/>
                    <a:pt x="132" y="44"/>
                  </a:cubicBezTo>
                  <a:cubicBezTo>
                    <a:pt x="119" y="44"/>
                    <a:pt x="89" y="15"/>
                    <a:pt x="85" y="0"/>
                  </a:cubicBezTo>
                  <a:cubicBezTo>
                    <a:pt x="61" y="9"/>
                    <a:pt x="42" y="30"/>
                    <a:pt x="25" y="77"/>
                  </a:cubicBezTo>
                  <a:cubicBezTo>
                    <a:pt x="32" y="73"/>
                    <a:pt x="47" y="56"/>
                    <a:pt x="52" y="55"/>
                  </a:cubicBezTo>
                  <a:cubicBezTo>
                    <a:pt x="34" y="84"/>
                    <a:pt x="17" y="111"/>
                    <a:pt x="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809EB3E-18D1-4AC6-BD2E-EFA29FCFBA0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194088" y="1563688"/>
              <a:ext cx="649288" cy="647700"/>
            </a:xfrm>
            <a:custGeom>
              <a:avLst/>
              <a:gdLst>
                <a:gd name="T0" fmla="*/ 354 w 354"/>
                <a:gd name="T1" fmla="*/ 0 h 353"/>
                <a:gd name="T2" fmla="*/ 192 w 354"/>
                <a:gd name="T3" fmla="*/ 74 h 353"/>
                <a:gd name="T4" fmla="*/ 71 w 354"/>
                <a:gd name="T5" fmla="*/ 219 h 353"/>
                <a:gd name="T6" fmla="*/ 94 w 354"/>
                <a:gd name="T7" fmla="*/ 260 h 353"/>
                <a:gd name="T8" fmla="*/ 135 w 354"/>
                <a:gd name="T9" fmla="*/ 283 h 353"/>
                <a:gd name="T10" fmla="*/ 279 w 354"/>
                <a:gd name="T11" fmla="*/ 162 h 353"/>
                <a:gd name="T12" fmla="*/ 354 w 354"/>
                <a:gd name="T13" fmla="*/ 0 h 353"/>
                <a:gd name="T14" fmla="*/ 219 w 354"/>
                <a:gd name="T15" fmla="*/ 135 h 353"/>
                <a:gd name="T16" fmla="*/ 219 w 354"/>
                <a:gd name="T17" fmla="*/ 84 h 353"/>
                <a:gd name="T18" fmla="*/ 270 w 354"/>
                <a:gd name="T19" fmla="*/ 84 h 353"/>
                <a:gd name="T20" fmla="*/ 270 w 354"/>
                <a:gd name="T21" fmla="*/ 135 h 353"/>
                <a:gd name="T22" fmla="*/ 219 w 354"/>
                <a:gd name="T23" fmla="*/ 135 h 353"/>
                <a:gd name="T24" fmla="*/ 216 w 354"/>
                <a:gd name="T25" fmla="*/ 241 h 353"/>
                <a:gd name="T26" fmla="*/ 147 w 354"/>
                <a:gd name="T27" fmla="*/ 294 h 353"/>
                <a:gd name="T28" fmla="*/ 155 w 354"/>
                <a:gd name="T29" fmla="*/ 353 h 353"/>
                <a:gd name="T30" fmla="*/ 186 w 354"/>
                <a:gd name="T31" fmla="*/ 331 h 353"/>
                <a:gd name="T32" fmla="*/ 216 w 354"/>
                <a:gd name="T33" fmla="*/ 241 h 353"/>
                <a:gd name="T34" fmla="*/ 22 w 354"/>
                <a:gd name="T35" fmla="*/ 168 h 353"/>
                <a:gd name="T36" fmla="*/ 0 w 354"/>
                <a:gd name="T37" fmla="*/ 199 h 353"/>
                <a:gd name="T38" fmla="*/ 59 w 354"/>
                <a:gd name="T39" fmla="*/ 207 h 353"/>
                <a:gd name="T40" fmla="*/ 113 w 354"/>
                <a:gd name="T41" fmla="*/ 138 h 353"/>
                <a:gd name="T42" fmla="*/ 22 w 354"/>
                <a:gd name="T4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4" h="353">
                  <a:moveTo>
                    <a:pt x="354" y="0"/>
                  </a:moveTo>
                  <a:cubicBezTo>
                    <a:pt x="306" y="11"/>
                    <a:pt x="241" y="26"/>
                    <a:pt x="192" y="74"/>
                  </a:cubicBezTo>
                  <a:cubicBezTo>
                    <a:pt x="144" y="123"/>
                    <a:pt x="117" y="156"/>
                    <a:pt x="71" y="219"/>
                  </a:cubicBezTo>
                  <a:cubicBezTo>
                    <a:pt x="71" y="228"/>
                    <a:pt x="80" y="246"/>
                    <a:pt x="94" y="260"/>
                  </a:cubicBezTo>
                  <a:cubicBezTo>
                    <a:pt x="108" y="274"/>
                    <a:pt x="126" y="283"/>
                    <a:pt x="135" y="283"/>
                  </a:cubicBezTo>
                  <a:cubicBezTo>
                    <a:pt x="197" y="237"/>
                    <a:pt x="231" y="210"/>
                    <a:pt x="279" y="162"/>
                  </a:cubicBezTo>
                  <a:cubicBezTo>
                    <a:pt x="328" y="113"/>
                    <a:pt x="343" y="48"/>
                    <a:pt x="354" y="0"/>
                  </a:cubicBezTo>
                  <a:close/>
                  <a:moveTo>
                    <a:pt x="219" y="135"/>
                  </a:moveTo>
                  <a:cubicBezTo>
                    <a:pt x="205" y="121"/>
                    <a:pt x="205" y="98"/>
                    <a:pt x="219" y="84"/>
                  </a:cubicBezTo>
                  <a:cubicBezTo>
                    <a:pt x="233" y="70"/>
                    <a:pt x="256" y="70"/>
                    <a:pt x="270" y="84"/>
                  </a:cubicBezTo>
                  <a:cubicBezTo>
                    <a:pt x="284" y="98"/>
                    <a:pt x="284" y="121"/>
                    <a:pt x="270" y="135"/>
                  </a:cubicBezTo>
                  <a:cubicBezTo>
                    <a:pt x="256" y="149"/>
                    <a:pt x="233" y="149"/>
                    <a:pt x="219" y="135"/>
                  </a:cubicBezTo>
                  <a:close/>
                  <a:moveTo>
                    <a:pt x="216" y="241"/>
                  </a:moveTo>
                  <a:cubicBezTo>
                    <a:pt x="189" y="264"/>
                    <a:pt x="173" y="276"/>
                    <a:pt x="147" y="294"/>
                  </a:cubicBezTo>
                  <a:cubicBezTo>
                    <a:pt x="153" y="325"/>
                    <a:pt x="155" y="353"/>
                    <a:pt x="155" y="353"/>
                  </a:cubicBezTo>
                  <a:cubicBezTo>
                    <a:pt x="155" y="353"/>
                    <a:pt x="166" y="347"/>
                    <a:pt x="186" y="331"/>
                  </a:cubicBezTo>
                  <a:cubicBezTo>
                    <a:pt x="203" y="298"/>
                    <a:pt x="209" y="272"/>
                    <a:pt x="216" y="241"/>
                  </a:cubicBezTo>
                  <a:close/>
                  <a:moveTo>
                    <a:pt x="22" y="168"/>
                  </a:moveTo>
                  <a:cubicBezTo>
                    <a:pt x="7" y="188"/>
                    <a:pt x="0" y="199"/>
                    <a:pt x="0" y="199"/>
                  </a:cubicBezTo>
                  <a:cubicBezTo>
                    <a:pt x="0" y="199"/>
                    <a:pt x="29" y="201"/>
                    <a:pt x="59" y="207"/>
                  </a:cubicBezTo>
                  <a:cubicBezTo>
                    <a:pt x="78" y="181"/>
                    <a:pt x="90" y="165"/>
                    <a:pt x="113" y="138"/>
                  </a:cubicBezTo>
                  <a:cubicBezTo>
                    <a:pt x="81" y="145"/>
                    <a:pt x="56" y="151"/>
                    <a:pt x="2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2" name="myP_Server">
            <a:extLst>
              <a:ext uri="{FF2B5EF4-FFF2-40B4-BE49-F238E27FC236}">
                <a16:creationId xmlns:a16="http://schemas.microsoft.com/office/drawing/2014/main" id="{C9EA2945-43DD-499A-8FE2-D23CD53D1FF3}"/>
              </a:ext>
            </a:extLst>
          </p:cNvPr>
          <p:cNvGrpSpPr/>
          <p:nvPr/>
        </p:nvGrpSpPr>
        <p:grpSpPr>
          <a:xfrm>
            <a:off x="4402519" y="2286394"/>
            <a:ext cx="515042" cy="599564"/>
            <a:chOff x="4972448" y="2995216"/>
            <a:chExt cx="533564" cy="532230"/>
          </a:xfrm>
          <a:solidFill>
            <a:schemeClr val="tx1"/>
          </a:solidFill>
        </p:grpSpPr>
        <p:sp>
          <p:nvSpPr>
            <p:cNvPr id="103" name="Freeform 619">
              <a:extLst>
                <a:ext uri="{FF2B5EF4-FFF2-40B4-BE49-F238E27FC236}">
                  <a16:creationId xmlns:a16="http://schemas.microsoft.com/office/drawing/2014/main" id="{E6D4F907-FBA9-4F09-81AC-538E152BB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448" y="2995216"/>
              <a:ext cx="344149" cy="125387"/>
            </a:xfrm>
            <a:custGeom>
              <a:avLst/>
              <a:gdLst>
                <a:gd name="T0" fmla="*/ 22 w 297"/>
                <a:gd name="T1" fmla="*/ 81 h 108"/>
                <a:gd name="T2" fmla="*/ 45 w 297"/>
                <a:gd name="T3" fmla="*/ 91 h 108"/>
                <a:gd name="T4" fmla="*/ 54 w 297"/>
                <a:gd name="T5" fmla="*/ 95 h 108"/>
                <a:gd name="T6" fmla="*/ 74 w 297"/>
                <a:gd name="T7" fmla="*/ 100 h 108"/>
                <a:gd name="T8" fmla="*/ 85 w 297"/>
                <a:gd name="T9" fmla="*/ 102 h 108"/>
                <a:gd name="T10" fmla="*/ 97 w 297"/>
                <a:gd name="T11" fmla="*/ 104 h 108"/>
                <a:gd name="T12" fmla="*/ 109 w 297"/>
                <a:gd name="T13" fmla="*/ 105 h 108"/>
                <a:gd name="T14" fmla="*/ 122 w 297"/>
                <a:gd name="T15" fmla="*/ 107 h 108"/>
                <a:gd name="T16" fmla="*/ 136 w 297"/>
                <a:gd name="T17" fmla="*/ 107 h 108"/>
                <a:gd name="T18" fmla="*/ 161 w 297"/>
                <a:gd name="T19" fmla="*/ 107 h 108"/>
                <a:gd name="T20" fmla="*/ 174 w 297"/>
                <a:gd name="T21" fmla="*/ 107 h 108"/>
                <a:gd name="T22" fmla="*/ 188 w 297"/>
                <a:gd name="T23" fmla="*/ 105 h 108"/>
                <a:gd name="T24" fmla="*/ 200 w 297"/>
                <a:gd name="T25" fmla="*/ 104 h 108"/>
                <a:gd name="T26" fmla="*/ 211 w 297"/>
                <a:gd name="T27" fmla="*/ 102 h 108"/>
                <a:gd name="T28" fmla="*/ 223 w 297"/>
                <a:gd name="T29" fmla="*/ 100 h 108"/>
                <a:gd name="T30" fmla="*/ 243 w 297"/>
                <a:gd name="T31" fmla="*/ 95 h 108"/>
                <a:gd name="T32" fmla="*/ 252 w 297"/>
                <a:gd name="T33" fmla="*/ 91 h 108"/>
                <a:gd name="T34" fmla="*/ 275 w 297"/>
                <a:gd name="T35" fmla="*/ 81 h 108"/>
                <a:gd name="T36" fmla="*/ 297 w 297"/>
                <a:gd name="T37" fmla="*/ 54 h 108"/>
                <a:gd name="T38" fmla="*/ 275 w 297"/>
                <a:gd name="T39" fmla="*/ 27 h 108"/>
                <a:gd name="T40" fmla="*/ 252 w 297"/>
                <a:gd name="T41" fmla="*/ 16 h 108"/>
                <a:gd name="T42" fmla="*/ 243 w 297"/>
                <a:gd name="T43" fmla="*/ 13 h 108"/>
                <a:gd name="T44" fmla="*/ 223 w 297"/>
                <a:gd name="T45" fmla="*/ 8 h 108"/>
                <a:gd name="T46" fmla="*/ 211 w 297"/>
                <a:gd name="T47" fmla="*/ 5 h 108"/>
                <a:gd name="T48" fmla="*/ 200 w 297"/>
                <a:gd name="T49" fmla="*/ 4 h 108"/>
                <a:gd name="T50" fmla="*/ 188 w 297"/>
                <a:gd name="T51" fmla="*/ 2 h 108"/>
                <a:gd name="T52" fmla="*/ 174 w 297"/>
                <a:gd name="T53" fmla="*/ 1 h 108"/>
                <a:gd name="T54" fmla="*/ 161 w 297"/>
                <a:gd name="T55" fmla="*/ 0 h 108"/>
                <a:gd name="T56" fmla="*/ 136 w 297"/>
                <a:gd name="T57" fmla="*/ 0 h 108"/>
                <a:gd name="T58" fmla="*/ 122 w 297"/>
                <a:gd name="T59" fmla="*/ 1 h 108"/>
                <a:gd name="T60" fmla="*/ 109 w 297"/>
                <a:gd name="T61" fmla="*/ 2 h 108"/>
                <a:gd name="T62" fmla="*/ 97 w 297"/>
                <a:gd name="T63" fmla="*/ 4 h 108"/>
                <a:gd name="T64" fmla="*/ 85 w 297"/>
                <a:gd name="T65" fmla="*/ 5 h 108"/>
                <a:gd name="T66" fmla="*/ 74 w 297"/>
                <a:gd name="T67" fmla="*/ 8 h 108"/>
                <a:gd name="T68" fmla="*/ 54 w 297"/>
                <a:gd name="T69" fmla="*/ 13 h 108"/>
                <a:gd name="T70" fmla="*/ 45 w 297"/>
                <a:gd name="T71" fmla="*/ 16 h 108"/>
                <a:gd name="T72" fmla="*/ 22 w 297"/>
                <a:gd name="T73" fmla="*/ 27 h 108"/>
                <a:gd name="T74" fmla="*/ 4 w 297"/>
                <a:gd name="T75" fmla="*/ 43 h 108"/>
                <a:gd name="T76" fmla="*/ 0 w 297"/>
                <a:gd name="T77" fmla="*/ 54 h 108"/>
                <a:gd name="T78" fmla="*/ 22 w 297"/>
                <a:gd name="T79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7" h="108">
                  <a:moveTo>
                    <a:pt x="22" y="81"/>
                  </a:move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4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5"/>
                    <a:pt x="109" y="105"/>
                  </a:cubicBezTo>
                  <a:cubicBezTo>
                    <a:pt x="112" y="106"/>
                    <a:pt x="116" y="106"/>
                    <a:pt x="120" y="106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7" y="107"/>
                    <a:pt x="171" y="107"/>
                    <a:pt x="174" y="107"/>
                  </a:cubicBezTo>
                  <a:cubicBezTo>
                    <a:pt x="175" y="107"/>
                    <a:pt x="176" y="107"/>
                    <a:pt x="177" y="106"/>
                  </a:cubicBezTo>
                  <a:cubicBezTo>
                    <a:pt x="180" y="106"/>
                    <a:pt x="184" y="106"/>
                    <a:pt x="188" y="105"/>
                  </a:cubicBezTo>
                  <a:cubicBezTo>
                    <a:pt x="188" y="105"/>
                    <a:pt x="189" y="105"/>
                    <a:pt x="189" y="105"/>
                  </a:cubicBezTo>
                  <a:cubicBezTo>
                    <a:pt x="193" y="105"/>
                    <a:pt x="196" y="105"/>
                    <a:pt x="200" y="104"/>
                  </a:cubicBezTo>
                  <a:cubicBezTo>
                    <a:pt x="200" y="104"/>
                    <a:pt x="200" y="104"/>
                    <a:pt x="201" y="104"/>
                  </a:cubicBezTo>
                  <a:cubicBezTo>
                    <a:pt x="204" y="103"/>
                    <a:pt x="208" y="103"/>
                    <a:pt x="211" y="102"/>
                  </a:cubicBezTo>
                  <a:cubicBezTo>
                    <a:pt x="212" y="102"/>
                    <a:pt x="212" y="102"/>
                    <a:pt x="213" y="102"/>
                  </a:cubicBezTo>
                  <a:cubicBezTo>
                    <a:pt x="216" y="101"/>
                    <a:pt x="220" y="101"/>
                    <a:pt x="223" y="100"/>
                  </a:cubicBezTo>
                  <a:cubicBezTo>
                    <a:pt x="223" y="100"/>
                    <a:pt x="224" y="100"/>
                    <a:pt x="224" y="100"/>
                  </a:cubicBezTo>
                  <a:cubicBezTo>
                    <a:pt x="231" y="98"/>
                    <a:pt x="237" y="96"/>
                    <a:pt x="243" y="95"/>
                  </a:cubicBezTo>
                  <a:cubicBezTo>
                    <a:pt x="243" y="94"/>
                    <a:pt x="243" y="94"/>
                    <a:pt x="244" y="94"/>
                  </a:cubicBezTo>
                  <a:cubicBezTo>
                    <a:pt x="247" y="93"/>
                    <a:pt x="249" y="92"/>
                    <a:pt x="252" y="91"/>
                  </a:cubicBezTo>
                  <a:cubicBezTo>
                    <a:pt x="252" y="91"/>
                    <a:pt x="253" y="91"/>
                    <a:pt x="253" y="91"/>
                  </a:cubicBezTo>
                  <a:cubicBezTo>
                    <a:pt x="261" y="88"/>
                    <a:pt x="269" y="85"/>
                    <a:pt x="275" y="81"/>
                  </a:cubicBezTo>
                  <a:cubicBezTo>
                    <a:pt x="275" y="81"/>
                    <a:pt x="275" y="81"/>
                    <a:pt x="275" y="81"/>
                  </a:cubicBezTo>
                  <a:cubicBezTo>
                    <a:pt x="289" y="72"/>
                    <a:pt x="297" y="63"/>
                    <a:pt x="297" y="54"/>
                  </a:cubicBezTo>
                  <a:cubicBezTo>
                    <a:pt x="297" y="45"/>
                    <a:pt x="289" y="35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23"/>
                    <a:pt x="261" y="20"/>
                    <a:pt x="253" y="16"/>
                  </a:cubicBezTo>
                  <a:cubicBezTo>
                    <a:pt x="253" y="16"/>
                    <a:pt x="252" y="16"/>
                    <a:pt x="252" y="16"/>
                  </a:cubicBezTo>
                  <a:cubicBezTo>
                    <a:pt x="249" y="15"/>
                    <a:pt x="247" y="14"/>
                    <a:pt x="244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37" y="11"/>
                    <a:pt x="231" y="9"/>
                    <a:pt x="224" y="8"/>
                  </a:cubicBezTo>
                  <a:cubicBezTo>
                    <a:pt x="224" y="8"/>
                    <a:pt x="223" y="8"/>
                    <a:pt x="223" y="8"/>
                  </a:cubicBezTo>
                  <a:cubicBezTo>
                    <a:pt x="220" y="7"/>
                    <a:pt x="216" y="6"/>
                    <a:pt x="213" y="6"/>
                  </a:cubicBezTo>
                  <a:cubicBezTo>
                    <a:pt x="212" y="6"/>
                    <a:pt x="212" y="5"/>
                    <a:pt x="211" y="5"/>
                  </a:cubicBezTo>
                  <a:cubicBezTo>
                    <a:pt x="208" y="5"/>
                    <a:pt x="204" y="4"/>
                    <a:pt x="201" y="4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6" y="3"/>
                    <a:pt x="193" y="3"/>
                    <a:pt x="189" y="2"/>
                  </a:cubicBezTo>
                  <a:cubicBezTo>
                    <a:pt x="189" y="2"/>
                    <a:pt x="188" y="2"/>
                    <a:pt x="188" y="2"/>
                  </a:cubicBezTo>
                  <a:cubicBezTo>
                    <a:pt x="184" y="2"/>
                    <a:pt x="180" y="1"/>
                    <a:pt x="177" y="1"/>
                  </a:cubicBezTo>
                  <a:cubicBezTo>
                    <a:pt x="176" y="1"/>
                    <a:pt x="175" y="1"/>
                    <a:pt x="174" y="1"/>
                  </a:cubicBezTo>
                  <a:cubicBezTo>
                    <a:pt x="171" y="1"/>
                    <a:pt x="167" y="0"/>
                    <a:pt x="163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7" y="0"/>
                    <a:pt x="153" y="0"/>
                    <a:pt x="148" y="0"/>
                  </a:cubicBezTo>
                  <a:cubicBezTo>
                    <a:pt x="144" y="0"/>
                    <a:pt x="140" y="0"/>
                    <a:pt x="136" y="0"/>
                  </a:cubicBezTo>
                  <a:cubicBezTo>
                    <a:pt x="135" y="0"/>
                    <a:pt x="134" y="0"/>
                    <a:pt x="134" y="0"/>
                  </a:cubicBezTo>
                  <a:cubicBezTo>
                    <a:pt x="130" y="0"/>
                    <a:pt x="126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cubicBezTo>
                    <a:pt x="116" y="1"/>
                    <a:pt x="112" y="2"/>
                    <a:pt x="109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4" y="3"/>
                    <a:pt x="100" y="3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2" y="4"/>
                    <a:pt x="89" y="5"/>
                    <a:pt x="85" y="5"/>
                  </a:cubicBezTo>
                  <a:cubicBezTo>
                    <a:pt x="85" y="5"/>
                    <a:pt x="84" y="6"/>
                    <a:pt x="84" y="6"/>
                  </a:cubicBezTo>
                  <a:cubicBezTo>
                    <a:pt x="80" y="6"/>
                    <a:pt x="77" y="7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6" y="9"/>
                    <a:pt x="60" y="11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0" y="14"/>
                    <a:pt x="47" y="15"/>
                    <a:pt x="45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5" y="20"/>
                    <a:pt x="28" y="23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32"/>
                    <a:pt x="7" y="37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" y="46"/>
                    <a:pt x="0" y="50"/>
                    <a:pt x="0" y="54"/>
                  </a:cubicBezTo>
                  <a:cubicBezTo>
                    <a:pt x="0" y="57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620">
              <a:extLst>
                <a:ext uri="{FF2B5EF4-FFF2-40B4-BE49-F238E27FC236}">
                  <a16:creationId xmlns:a16="http://schemas.microsoft.com/office/drawing/2014/main" id="{940194CD-6CD4-476C-86A2-7EF0707F1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877" y="3291343"/>
              <a:ext cx="90706" cy="90706"/>
            </a:xfrm>
            <a:custGeom>
              <a:avLst/>
              <a:gdLst>
                <a:gd name="T0" fmla="*/ 65 w 78"/>
                <a:gd name="T1" fmla="*/ 52 h 78"/>
                <a:gd name="T2" fmla="*/ 26 w 78"/>
                <a:gd name="T3" fmla="*/ 13 h 78"/>
                <a:gd name="T4" fmla="*/ 13 w 78"/>
                <a:gd name="T5" fmla="*/ 0 h 78"/>
                <a:gd name="T6" fmla="*/ 0 w 78"/>
                <a:gd name="T7" fmla="*/ 13 h 78"/>
                <a:gd name="T8" fmla="*/ 65 w 78"/>
                <a:gd name="T9" fmla="*/ 78 h 78"/>
                <a:gd name="T10" fmla="*/ 78 w 78"/>
                <a:gd name="T11" fmla="*/ 65 h 78"/>
                <a:gd name="T12" fmla="*/ 65 w 78"/>
                <a:gd name="T13" fmla="*/ 5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8">
                  <a:moveTo>
                    <a:pt x="65" y="52"/>
                  </a:moveTo>
                  <a:cubicBezTo>
                    <a:pt x="44" y="52"/>
                    <a:pt x="26" y="34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9"/>
                    <a:pt x="29" y="78"/>
                    <a:pt x="65" y="78"/>
                  </a:cubicBezTo>
                  <a:cubicBezTo>
                    <a:pt x="72" y="78"/>
                    <a:pt x="78" y="72"/>
                    <a:pt x="78" y="65"/>
                  </a:cubicBezTo>
                  <a:cubicBezTo>
                    <a:pt x="78" y="58"/>
                    <a:pt x="72" y="52"/>
                    <a:pt x="6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621">
              <a:extLst>
                <a:ext uri="{FF2B5EF4-FFF2-40B4-BE49-F238E27FC236}">
                  <a16:creationId xmlns:a16="http://schemas.microsoft.com/office/drawing/2014/main" id="{B8CE3D4E-C1A6-4259-A88A-D6DEFCA2A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547" y="3253994"/>
              <a:ext cx="32014" cy="2934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622">
              <a:extLst>
                <a:ext uri="{FF2B5EF4-FFF2-40B4-BE49-F238E27FC236}">
                  <a16:creationId xmlns:a16="http://schemas.microsoft.com/office/drawing/2014/main" id="{B9911BE0-34DC-411A-8DD3-39D62E3DD4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2448" y="3091257"/>
              <a:ext cx="533564" cy="436189"/>
            </a:xfrm>
            <a:custGeom>
              <a:avLst/>
              <a:gdLst>
                <a:gd name="T0" fmla="*/ 384 w 460"/>
                <a:gd name="T1" fmla="*/ 180 h 378"/>
                <a:gd name="T2" fmla="*/ 297 w 460"/>
                <a:gd name="T3" fmla="*/ 0 h 378"/>
                <a:gd name="T4" fmla="*/ 244 w 460"/>
                <a:gd name="T5" fmla="*/ 41 h 378"/>
                <a:gd name="T6" fmla="*/ 211 w 460"/>
                <a:gd name="T7" fmla="*/ 49 h 378"/>
                <a:gd name="T8" fmla="*/ 177 w 460"/>
                <a:gd name="T9" fmla="*/ 53 h 378"/>
                <a:gd name="T10" fmla="*/ 136 w 460"/>
                <a:gd name="T11" fmla="*/ 54 h 378"/>
                <a:gd name="T12" fmla="*/ 107 w 460"/>
                <a:gd name="T13" fmla="*/ 52 h 378"/>
                <a:gd name="T14" fmla="*/ 74 w 460"/>
                <a:gd name="T15" fmla="*/ 46 h 378"/>
                <a:gd name="T16" fmla="*/ 44 w 460"/>
                <a:gd name="T17" fmla="*/ 37 h 378"/>
                <a:gd name="T18" fmla="*/ 0 w 460"/>
                <a:gd name="T19" fmla="*/ 54 h 378"/>
                <a:gd name="T20" fmla="*/ 44 w 460"/>
                <a:gd name="T21" fmla="*/ 91 h 378"/>
                <a:gd name="T22" fmla="*/ 74 w 460"/>
                <a:gd name="T23" fmla="*/ 100 h 378"/>
                <a:gd name="T24" fmla="*/ 107 w 460"/>
                <a:gd name="T25" fmla="*/ 105 h 378"/>
                <a:gd name="T26" fmla="*/ 136 w 460"/>
                <a:gd name="T27" fmla="*/ 107 h 378"/>
                <a:gd name="T28" fmla="*/ 166 w 460"/>
                <a:gd name="T29" fmla="*/ 107 h 378"/>
                <a:gd name="T30" fmla="*/ 134 w 460"/>
                <a:gd name="T31" fmla="*/ 136 h 378"/>
                <a:gd name="T32" fmla="*/ 97 w 460"/>
                <a:gd name="T33" fmla="*/ 132 h 378"/>
                <a:gd name="T34" fmla="*/ 73 w 460"/>
                <a:gd name="T35" fmla="*/ 128 h 378"/>
                <a:gd name="T36" fmla="*/ 22 w 460"/>
                <a:gd name="T37" fmla="*/ 109 h 378"/>
                <a:gd name="T38" fmla="*/ 0 w 460"/>
                <a:gd name="T39" fmla="*/ 136 h 378"/>
                <a:gd name="T40" fmla="*/ 45 w 460"/>
                <a:gd name="T41" fmla="*/ 174 h 378"/>
                <a:gd name="T42" fmla="*/ 84 w 460"/>
                <a:gd name="T43" fmla="*/ 184 h 378"/>
                <a:gd name="T44" fmla="*/ 109 w 460"/>
                <a:gd name="T45" fmla="*/ 188 h 378"/>
                <a:gd name="T46" fmla="*/ 142 w 460"/>
                <a:gd name="T47" fmla="*/ 190 h 378"/>
                <a:gd name="T48" fmla="*/ 120 w 460"/>
                <a:gd name="T49" fmla="*/ 217 h 378"/>
                <a:gd name="T50" fmla="*/ 85 w 460"/>
                <a:gd name="T51" fmla="*/ 213 h 378"/>
                <a:gd name="T52" fmla="*/ 53 w 460"/>
                <a:gd name="T53" fmla="*/ 205 h 378"/>
                <a:gd name="T54" fmla="*/ 3 w 460"/>
                <a:gd name="T55" fmla="*/ 175 h 378"/>
                <a:gd name="T56" fmla="*/ 22 w 460"/>
                <a:gd name="T57" fmla="*/ 245 h 378"/>
                <a:gd name="T58" fmla="*/ 54 w 460"/>
                <a:gd name="T59" fmla="*/ 259 h 378"/>
                <a:gd name="T60" fmla="*/ 96 w 460"/>
                <a:gd name="T61" fmla="*/ 268 h 378"/>
                <a:gd name="T62" fmla="*/ 122 w 460"/>
                <a:gd name="T63" fmla="*/ 271 h 378"/>
                <a:gd name="T64" fmla="*/ 163 w 460"/>
                <a:gd name="T65" fmla="*/ 271 h 378"/>
                <a:gd name="T66" fmla="*/ 213 w 460"/>
                <a:gd name="T67" fmla="*/ 294 h 378"/>
                <a:gd name="T68" fmla="*/ 188 w 460"/>
                <a:gd name="T69" fmla="*/ 298 h 378"/>
                <a:gd name="T70" fmla="*/ 148 w 460"/>
                <a:gd name="T71" fmla="*/ 300 h 378"/>
                <a:gd name="T72" fmla="*/ 109 w 460"/>
                <a:gd name="T73" fmla="*/ 298 h 378"/>
                <a:gd name="T74" fmla="*/ 84 w 460"/>
                <a:gd name="T75" fmla="*/ 294 h 378"/>
                <a:gd name="T76" fmla="*/ 45 w 460"/>
                <a:gd name="T77" fmla="*/ 284 h 378"/>
                <a:gd name="T78" fmla="*/ 0 w 460"/>
                <a:gd name="T79" fmla="*/ 246 h 378"/>
                <a:gd name="T80" fmla="*/ 22 w 460"/>
                <a:gd name="T81" fmla="*/ 327 h 378"/>
                <a:gd name="T82" fmla="*/ 73 w 460"/>
                <a:gd name="T83" fmla="*/ 346 h 378"/>
                <a:gd name="T84" fmla="*/ 97 w 460"/>
                <a:gd name="T85" fmla="*/ 350 h 378"/>
                <a:gd name="T86" fmla="*/ 134 w 460"/>
                <a:gd name="T87" fmla="*/ 353 h 378"/>
                <a:gd name="T88" fmla="*/ 174 w 460"/>
                <a:gd name="T89" fmla="*/ 353 h 378"/>
                <a:gd name="T90" fmla="*/ 201 w 460"/>
                <a:gd name="T91" fmla="*/ 350 h 378"/>
                <a:gd name="T92" fmla="*/ 243 w 460"/>
                <a:gd name="T93" fmla="*/ 341 h 378"/>
                <a:gd name="T94" fmla="*/ 275 w 460"/>
                <a:gd name="T95" fmla="*/ 327 h 378"/>
                <a:gd name="T96" fmla="*/ 349 w 460"/>
                <a:gd name="T97" fmla="*/ 291 h 378"/>
                <a:gd name="T98" fmla="*/ 454 w 460"/>
                <a:gd name="T99" fmla="*/ 347 h 378"/>
                <a:gd name="T100" fmla="*/ 358 w 460"/>
                <a:gd name="T101" fmla="*/ 18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0" h="378">
                  <a:moveTo>
                    <a:pt x="460" y="341"/>
                  </a:moveTo>
                  <a:cubicBezTo>
                    <a:pt x="380" y="260"/>
                    <a:pt x="380" y="260"/>
                    <a:pt x="380" y="260"/>
                  </a:cubicBezTo>
                  <a:cubicBezTo>
                    <a:pt x="374" y="267"/>
                    <a:pt x="374" y="267"/>
                    <a:pt x="374" y="267"/>
                  </a:cubicBezTo>
                  <a:cubicBezTo>
                    <a:pt x="360" y="253"/>
                    <a:pt x="360" y="253"/>
                    <a:pt x="360" y="253"/>
                  </a:cubicBezTo>
                  <a:cubicBezTo>
                    <a:pt x="375" y="233"/>
                    <a:pt x="384" y="207"/>
                    <a:pt x="384" y="180"/>
                  </a:cubicBezTo>
                  <a:cubicBezTo>
                    <a:pt x="384" y="124"/>
                    <a:pt x="346" y="77"/>
                    <a:pt x="294" y="63"/>
                  </a:cubicBezTo>
                  <a:cubicBezTo>
                    <a:pt x="294" y="63"/>
                    <a:pt x="294" y="63"/>
                    <a:pt x="294" y="63"/>
                  </a:cubicBezTo>
                  <a:cubicBezTo>
                    <a:pt x="296" y="60"/>
                    <a:pt x="297" y="57"/>
                    <a:pt x="297" y="54"/>
                  </a:cubicBezTo>
                  <a:cubicBezTo>
                    <a:pt x="297" y="54"/>
                    <a:pt x="297" y="54"/>
                    <a:pt x="297" y="54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9"/>
                    <a:pt x="289" y="19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31"/>
                    <a:pt x="261" y="34"/>
                    <a:pt x="253" y="37"/>
                  </a:cubicBezTo>
                  <a:cubicBezTo>
                    <a:pt x="253" y="38"/>
                    <a:pt x="252" y="38"/>
                    <a:pt x="252" y="38"/>
                  </a:cubicBezTo>
                  <a:cubicBezTo>
                    <a:pt x="249" y="39"/>
                    <a:pt x="247" y="40"/>
                    <a:pt x="244" y="4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37" y="43"/>
                    <a:pt x="231" y="44"/>
                    <a:pt x="224" y="46"/>
                  </a:cubicBezTo>
                  <a:cubicBezTo>
                    <a:pt x="224" y="46"/>
                    <a:pt x="223" y="46"/>
                    <a:pt x="223" y="46"/>
                  </a:cubicBezTo>
                  <a:cubicBezTo>
                    <a:pt x="220" y="47"/>
                    <a:pt x="216" y="48"/>
                    <a:pt x="213" y="48"/>
                  </a:cubicBezTo>
                  <a:cubicBezTo>
                    <a:pt x="212" y="48"/>
                    <a:pt x="212" y="48"/>
                    <a:pt x="211" y="49"/>
                  </a:cubicBezTo>
                  <a:cubicBezTo>
                    <a:pt x="208" y="49"/>
                    <a:pt x="204" y="50"/>
                    <a:pt x="201" y="50"/>
                  </a:cubicBezTo>
                  <a:cubicBezTo>
                    <a:pt x="200" y="50"/>
                    <a:pt x="200" y="50"/>
                    <a:pt x="200" y="50"/>
                  </a:cubicBezTo>
                  <a:cubicBezTo>
                    <a:pt x="196" y="51"/>
                    <a:pt x="193" y="51"/>
                    <a:pt x="189" y="52"/>
                  </a:cubicBezTo>
                  <a:cubicBezTo>
                    <a:pt x="189" y="52"/>
                    <a:pt x="188" y="52"/>
                    <a:pt x="188" y="52"/>
                  </a:cubicBezTo>
                  <a:cubicBezTo>
                    <a:pt x="184" y="52"/>
                    <a:pt x="180" y="53"/>
                    <a:pt x="177" y="53"/>
                  </a:cubicBezTo>
                  <a:cubicBezTo>
                    <a:pt x="176" y="53"/>
                    <a:pt x="175" y="53"/>
                    <a:pt x="174" y="53"/>
                  </a:cubicBezTo>
                  <a:cubicBezTo>
                    <a:pt x="171" y="53"/>
                    <a:pt x="167" y="53"/>
                    <a:pt x="163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57" y="54"/>
                    <a:pt x="153" y="54"/>
                    <a:pt x="148" y="54"/>
                  </a:cubicBezTo>
                  <a:cubicBezTo>
                    <a:pt x="144" y="54"/>
                    <a:pt x="140" y="54"/>
                    <a:pt x="136" y="54"/>
                  </a:cubicBezTo>
                  <a:cubicBezTo>
                    <a:pt x="135" y="54"/>
                    <a:pt x="134" y="54"/>
                    <a:pt x="134" y="54"/>
                  </a:cubicBezTo>
                  <a:cubicBezTo>
                    <a:pt x="130" y="53"/>
                    <a:pt x="126" y="53"/>
                    <a:pt x="122" y="53"/>
                  </a:cubicBezTo>
                  <a:cubicBezTo>
                    <a:pt x="121" y="53"/>
                    <a:pt x="121" y="53"/>
                    <a:pt x="120" y="53"/>
                  </a:cubicBezTo>
                  <a:cubicBezTo>
                    <a:pt x="116" y="53"/>
                    <a:pt x="112" y="52"/>
                    <a:pt x="109" y="52"/>
                  </a:cubicBezTo>
                  <a:cubicBezTo>
                    <a:pt x="108" y="52"/>
                    <a:pt x="108" y="52"/>
                    <a:pt x="107" y="52"/>
                  </a:cubicBezTo>
                  <a:cubicBezTo>
                    <a:pt x="104" y="51"/>
                    <a:pt x="100" y="51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2" y="50"/>
                    <a:pt x="89" y="49"/>
                    <a:pt x="85" y="49"/>
                  </a:cubicBezTo>
                  <a:cubicBezTo>
                    <a:pt x="85" y="48"/>
                    <a:pt x="84" y="48"/>
                    <a:pt x="84" y="48"/>
                  </a:cubicBezTo>
                  <a:cubicBezTo>
                    <a:pt x="80" y="48"/>
                    <a:pt x="77" y="47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6" y="44"/>
                    <a:pt x="60" y="43"/>
                    <a:pt x="5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0" y="40"/>
                    <a:pt x="47" y="39"/>
                    <a:pt x="45" y="38"/>
                  </a:cubicBezTo>
                  <a:cubicBezTo>
                    <a:pt x="44" y="38"/>
                    <a:pt x="44" y="38"/>
                    <a:pt x="44" y="37"/>
                  </a:cubicBezTo>
                  <a:cubicBezTo>
                    <a:pt x="35" y="34"/>
                    <a:pt x="28" y="31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22"/>
                    <a:pt x="7" y="17"/>
                    <a:pt x="3" y="11"/>
                  </a:cubicBezTo>
                  <a:cubicBezTo>
                    <a:pt x="1" y="7"/>
                    <a:pt x="0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5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6"/>
                    <a:pt x="109" y="106"/>
                  </a:cubicBezTo>
                  <a:cubicBezTo>
                    <a:pt x="112" y="106"/>
                    <a:pt x="116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4" y="107"/>
                    <a:pt x="165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59" y="116"/>
                    <a:pt x="154" y="126"/>
                    <a:pt x="149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9" y="136"/>
                    <a:pt x="149" y="136"/>
                    <a:pt x="148" y="136"/>
                  </a:cubicBezTo>
                  <a:cubicBezTo>
                    <a:pt x="144" y="136"/>
                    <a:pt x="140" y="136"/>
                    <a:pt x="136" y="136"/>
                  </a:cubicBezTo>
                  <a:cubicBezTo>
                    <a:pt x="135" y="136"/>
                    <a:pt x="134" y="136"/>
                    <a:pt x="134" y="136"/>
                  </a:cubicBezTo>
                  <a:cubicBezTo>
                    <a:pt x="130" y="135"/>
                    <a:pt x="126" y="135"/>
                    <a:pt x="122" y="135"/>
                  </a:cubicBezTo>
                  <a:cubicBezTo>
                    <a:pt x="121" y="135"/>
                    <a:pt x="121" y="135"/>
                    <a:pt x="120" y="135"/>
                  </a:cubicBezTo>
                  <a:cubicBezTo>
                    <a:pt x="116" y="135"/>
                    <a:pt x="112" y="134"/>
                    <a:pt x="109" y="134"/>
                  </a:cubicBezTo>
                  <a:cubicBezTo>
                    <a:pt x="108" y="134"/>
                    <a:pt x="108" y="134"/>
                    <a:pt x="107" y="134"/>
                  </a:cubicBezTo>
                  <a:cubicBezTo>
                    <a:pt x="104" y="133"/>
                    <a:pt x="100" y="133"/>
                    <a:pt x="97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2" y="132"/>
                    <a:pt x="89" y="131"/>
                    <a:pt x="85" y="131"/>
                  </a:cubicBezTo>
                  <a:cubicBezTo>
                    <a:pt x="85" y="130"/>
                    <a:pt x="84" y="130"/>
                    <a:pt x="84" y="130"/>
                  </a:cubicBezTo>
                  <a:cubicBezTo>
                    <a:pt x="80" y="130"/>
                    <a:pt x="77" y="129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66" y="126"/>
                    <a:pt x="60" y="125"/>
                    <a:pt x="54" y="123"/>
                  </a:cubicBezTo>
                  <a:cubicBezTo>
                    <a:pt x="53" y="123"/>
                    <a:pt x="53" y="123"/>
                    <a:pt x="53" y="123"/>
                  </a:cubicBezTo>
                  <a:cubicBezTo>
                    <a:pt x="50" y="122"/>
                    <a:pt x="47" y="121"/>
                    <a:pt x="45" y="120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35" y="116"/>
                    <a:pt x="28" y="113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13" y="104"/>
                    <a:pt x="7" y="99"/>
                    <a:pt x="3" y="93"/>
                  </a:cubicBezTo>
                  <a:cubicBezTo>
                    <a:pt x="1" y="90"/>
                    <a:pt x="0" y="86"/>
                    <a:pt x="0" y="82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0"/>
                    <a:pt x="1" y="143"/>
                    <a:pt x="3" y="147"/>
                  </a:cubicBezTo>
                  <a:cubicBezTo>
                    <a:pt x="7" y="152"/>
                    <a:pt x="13" y="158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8" y="167"/>
                    <a:pt x="35" y="170"/>
                    <a:pt x="44" y="173"/>
                  </a:cubicBezTo>
                  <a:cubicBezTo>
                    <a:pt x="44" y="173"/>
                    <a:pt x="44" y="173"/>
                    <a:pt x="45" y="174"/>
                  </a:cubicBezTo>
                  <a:cubicBezTo>
                    <a:pt x="47" y="175"/>
                    <a:pt x="50" y="175"/>
                    <a:pt x="53" y="176"/>
                  </a:cubicBezTo>
                  <a:cubicBezTo>
                    <a:pt x="53" y="177"/>
                    <a:pt x="53" y="177"/>
                    <a:pt x="54" y="177"/>
                  </a:cubicBezTo>
                  <a:cubicBezTo>
                    <a:pt x="60" y="179"/>
                    <a:pt x="66" y="180"/>
                    <a:pt x="73" y="182"/>
                  </a:cubicBezTo>
                  <a:cubicBezTo>
                    <a:pt x="73" y="182"/>
                    <a:pt x="73" y="182"/>
                    <a:pt x="74" y="182"/>
                  </a:cubicBezTo>
                  <a:cubicBezTo>
                    <a:pt x="77" y="183"/>
                    <a:pt x="80" y="183"/>
                    <a:pt x="84" y="184"/>
                  </a:cubicBezTo>
                  <a:cubicBezTo>
                    <a:pt x="84" y="184"/>
                    <a:pt x="85" y="184"/>
                    <a:pt x="85" y="184"/>
                  </a:cubicBezTo>
                  <a:cubicBezTo>
                    <a:pt x="89" y="185"/>
                    <a:pt x="92" y="185"/>
                    <a:pt x="96" y="186"/>
                  </a:cubicBezTo>
                  <a:cubicBezTo>
                    <a:pt x="96" y="186"/>
                    <a:pt x="96" y="186"/>
                    <a:pt x="97" y="186"/>
                  </a:cubicBezTo>
                  <a:cubicBezTo>
                    <a:pt x="100" y="187"/>
                    <a:pt x="104" y="187"/>
                    <a:pt x="107" y="187"/>
                  </a:cubicBezTo>
                  <a:cubicBezTo>
                    <a:pt x="108" y="188"/>
                    <a:pt x="108" y="188"/>
                    <a:pt x="109" y="188"/>
                  </a:cubicBezTo>
                  <a:cubicBezTo>
                    <a:pt x="112" y="188"/>
                    <a:pt x="116" y="188"/>
                    <a:pt x="120" y="189"/>
                  </a:cubicBezTo>
                  <a:cubicBezTo>
                    <a:pt x="121" y="189"/>
                    <a:pt x="121" y="189"/>
                    <a:pt x="122" y="189"/>
                  </a:cubicBezTo>
                  <a:cubicBezTo>
                    <a:pt x="126" y="189"/>
                    <a:pt x="130" y="189"/>
                    <a:pt x="134" y="189"/>
                  </a:cubicBezTo>
                  <a:cubicBezTo>
                    <a:pt x="134" y="189"/>
                    <a:pt x="135" y="189"/>
                    <a:pt x="136" y="189"/>
                  </a:cubicBezTo>
                  <a:cubicBezTo>
                    <a:pt x="138" y="189"/>
                    <a:pt x="140" y="189"/>
                    <a:pt x="142" y="190"/>
                  </a:cubicBezTo>
                  <a:cubicBezTo>
                    <a:pt x="142" y="199"/>
                    <a:pt x="144" y="209"/>
                    <a:pt x="147" y="218"/>
                  </a:cubicBezTo>
                  <a:cubicBezTo>
                    <a:pt x="143" y="218"/>
                    <a:pt x="139" y="218"/>
                    <a:pt x="136" y="218"/>
                  </a:cubicBezTo>
                  <a:cubicBezTo>
                    <a:pt x="135" y="218"/>
                    <a:pt x="134" y="218"/>
                    <a:pt x="134" y="218"/>
                  </a:cubicBezTo>
                  <a:cubicBezTo>
                    <a:pt x="130" y="218"/>
                    <a:pt x="126" y="217"/>
                    <a:pt x="122" y="217"/>
                  </a:cubicBezTo>
                  <a:cubicBezTo>
                    <a:pt x="121" y="217"/>
                    <a:pt x="121" y="217"/>
                    <a:pt x="120" y="217"/>
                  </a:cubicBezTo>
                  <a:cubicBezTo>
                    <a:pt x="116" y="217"/>
                    <a:pt x="112" y="216"/>
                    <a:pt x="109" y="216"/>
                  </a:cubicBezTo>
                  <a:cubicBezTo>
                    <a:pt x="108" y="216"/>
                    <a:pt x="108" y="216"/>
                    <a:pt x="107" y="216"/>
                  </a:cubicBezTo>
                  <a:cubicBezTo>
                    <a:pt x="104" y="215"/>
                    <a:pt x="100" y="215"/>
                    <a:pt x="9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92" y="214"/>
                    <a:pt x="89" y="213"/>
                    <a:pt x="85" y="213"/>
                  </a:cubicBezTo>
                  <a:cubicBezTo>
                    <a:pt x="85" y="213"/>
                    <a:pt x="84" y="212"/>
                    <a:pt x="84" y="212"/>
                  </a:cubicBezTo>
                  <a:cubicBezTo>
                    <a:pt x="80" y="212"/>
                    <a:pt x="77" y="211"/>
                    <a:pt x="74" y="210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66" y="209"/>
                    <a:pt x="60" y="207"/>
                    <a:pt x="54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0" y="204"/>
                    <a:pt x="47" y="203"/>
                    <a:pt x="45" y="202"/>
                  </a:cubicBezTo>
                  <a:cubicBezTo>
                    <a:pt x="44" y="202"/>
                    <a:pt x="44" y="202"/>
                    <a:pt x="44" y="202"/>
                  </a:cubicBezTo>
                  <a:cubicBezTo>
                    <a:pt x="35" y="198"/>
                    <a:pt x="28" y="195"/>
                    <a:pt x="22" y="191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3" y="186"/>
                    <a:pt x="7" y="181"/>
                    <a:pt x="3" y="175"/>
                  </a:cubicBezTo>
                  <a:cubicBezTo>
                    <a:pt x="1" y="172"/>
                    <a:pt x="0" y="168"/>
                    <a:pt x="0" y="16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2"/>
                    <a:pt x="1" y="225"/>
                    <a:pt x="3" y="229"/>
                  </a:cubicBezTo>
                  <a:cubicBezTo>
                    <a:pt x="7" y="234"/>
                    <a:pt x="13" y="240"/>
                    <a:pt x="22" y="245"/>
                  </a:cubicBezTo>
                  <a:cubicBezTo>
                    <a:pt x="22" y="245"/>
                    <a:pt x="22" y="245"/>
                    <a:pt x="22" y="245"/>
                  </a:cubicBezTo>
                  <a:cubicBezTo>
                    <a:pt x="28" y="249"/>
                    <a:pt x="35" y="252"/>
                    <a:pt x="44" y="255"/>
                  </a:cubicBezTo>
                  <a:cubicBezTo>
                    <a:pt x="44" y="255"/>
                    <a:pt x="44" y="256"/>
                    <a:pt x="45" y="256"/>
                  </a:cubicBezTo>
                  <a:cubicBezTo>
                    <a:pt x="47" y="257"/>
                    <a:pt x="50" y="258"/>
                    <a:pt x="53" y="258"/>
                  </a:cubicBezTo>
                  <a:cubicBezTo>
                    <a:pt x="53" y="259"/>
                    <a:pt x="53" y="259"/>
                    <a:pt x="54" y="259"/>
                  </a:cubicBezTo>
                  <a:cubicBezTo>
                    <a:pt x="60" y="261"/>
                    <a:pt x="66" y="262"/>
                    <a:pt x="73" y="264"/>
                  </a:cubicBezTo>
                  <a:cubicBezTo>
                    <a:pt x="73" y="264"/>
                    <a:pt x="73" y="264"/>
                    <a:pt x="74" y="264"/>
                  </a:cubicBezTo>
                  <a:cubicBezTo>
                    <a:pt x="77" y="265"/>
                    <a:pt x="80" y="265"/>
                    <a:pt x="84" y="266"/>
                  </a:cubicBezTo>
                  <a:cubicBezTo>
                    <a:pt x="84" y="266"/>
                    <a:pt x="85" y="266"/>
                    <a:pt x="85" y="266"/>
                  </a:cubicBezTo>
                  <a:cubicBezTo>
                    <a:pt x="89" y="267"/>
                    <a:pt x="92" y="268"/>
                    <a:pt x="96" y="268"/>
                  </a:cubicBezTo>
                  <a:cubicBezTo>
                    <a:pt x="96" y="268"/>
                    <a:pt x="96" y="268"/>
                    <a:pt x="97" y="268"/>
                  </a:cubicBezTo>
                  <a:cubicBezTo>
                    <a:pt x="100" y="269"/>
                    <a:pt x="104" y="269"/>
                    <a:pt x="107" y="270"/>
                  </a:cubicBezTo>
                  <a:cubicBezTo>
                    <a:pt x="108" y="270"/>
                    <a:pt x="108" y="270"/>
                    <a:pt x="109" y="270"/>
                  </a:cubicBezTo>
                  <a:cubicBezTo>
                    <a:pt x="112" y="270"/>
                    <a:pt x="116" y="270"/>
                    <a:pt x="120" y="271"/>
                  </a:cubicBezTo>
                  <a:cubicBezTo>
                    <a:pt x="121" y="271"/>
                    <a:pt x="121" y="271"/>
                    <a:pt x="122" y="271"/>
                  </a:cubicBezTo>
                  <a:cubicBezTo>
                    <a:pt x="126" y="271"/>
                    <a:pt x="130" y="271"/>
                    <a:pt x="134" y="271"/>
                  </a:cubicBezTo>
                  <a:cubicBezTo>
                    <a:pt x="134" y="271"/>
                    <a:pt x="135" y="271"/>
                    <a:pt x="136" y="271"/>
                  </a:cubicBezTo>
                  <a:cubicBezTo>
                    <a:pt x="140" y="272"/>
                    <a:pt x="144" y="272"/>
                    <a:pt x="148" y="272"/>
                  </a:cubicBezTo>
                  <a:cubicBezTo>
                    <a:pt x="153" y="272"/>
                    <a:pt x="157" y="272"/>
                    <a:pt x="161" y="271"/>
                  </a:cubicBezTo>
                  <a:cubicBezTo>
                    <a:pt x="161" y="271"/>
                    <a:pt x="162" y="271"/>
                    <a:pt x="163" y="271"/>
                  </a:cubicBezTo>
                  <a:cubicBezTo>
                    <a:pt x="167" y="271"/>
                    <a:pt x="171" y="271"/>
                    <a:pt x="174" y="271"/>
                  </a:cubicBezTo>
                  <a:cubicBezTo>
                    <a:pt x="175" y="271"/>
                    <a:pt x="176" y="271"/>
                    <a:pt x="177" y="271"/>
                  </a:cubicBezTo>
                  <a:cubicBezTo>
                    <a:pt x="178" y="271"/>
                    <a:pt x="180" y="270"/>
                    <a:pt x="181" y="270"/>
                  </a:cubicBezTo>
                  <a:cubicBezTo>
                    <a:pt x="192" y="280"/>
                    <a:pt x="204" y="288"/>
                    <a:pt x="218" y="293"/>
                  </a:cubicBezTo>
                  <a:cubicBezTo>
                    <a:pt x="216" y="294"/>
                    <a:pt x="215" y="294"/>
                    <a:pt x="213" y="294"/>
                  </a:cubicBezTo>
                  <a:cubicBezTo>
                    <a:pt x="212" y="294"/>
                    <a:pt x="212" y="295"/>
                    <a:pt x="211" y="295"/>
                  </a:cubicBezTo>
                  <a:cubicBezTo>
                    <a:pt x="208" y="295"/>
                    <a:pt x="204" y="296"/>
                    <a:pt x="201" y="296"/>
                  </a:cubicBezTo>
                  <a:cubicBezTo>
                    <a:pt x="200" y="296"/>
                    <a:pt x="200" y="296"/>
                    <a:pt x="200" y="297"/>
                  </a:cubicBezTo>
                  <a:cubicBezTo>
                    <a:pt x="196" y="297"/>
                    <a:pt x="193" y="297"/>
                    <a:pt x="189" y="298"/>
                  </a:cubicBezTo>
                  <a:cubicBezTo>
                    <a:pt x="189" y="298"/>
                    <a:pt x="188" y="298"/>
                    <a:pt x="188" y="298"/>
                  </a:cubicBezTo>
                  <a:cubicBezTo>
                    <a:pt x="184" y="298"/>
                    <a:pt x="180" y="299"/>
                    <a:pt x="177" y="299"/>
                  </a:cubicBezTo>
                  <a:cubicBezTo>
                    <a:pt x="176" y="299"/>
                    <a:pt x="175" y="299"/>
                    <a:pt x="174" y="299"/>
                  </a:cubicBezTo>
                  <a:cubicBezTo>
                    <a:pt x="171" y="299"/>
                    <a:pt x="167" y="300"/>
                    <a:pt x="163" y="300"/>
                  </a:cubicBezTo>
                  <a:cubicBezTo>
                    <a:pt x="162" y="300"/>
                    <a:pt x="161" y="300"/>
                    <a:pt x="161" y="300"/>
                  </a:cubicBezTo>
                  <a:cubicBezTo>
                    <a:pt x="157" y="300"/>
                    <a:pt x="153" y="300"/>
                    <a:pt x="148" y="300"/>
                  </a:cubicBezTo>
                  <a:cubicBezTo>
                    <a:pt x="144" y="300"/>
                    <a:pt x="140" y="300"/>
                    <a:pt x="136" y="300"/>
                  </a:cubicBezTo>
                  <a:cubicBezTo>
                    <a:pt x="135" y="300"/>
                    <a:pt x="134" y="300"/>
                    <a:pt x="134" y="300"/>
                  </a:cubicBezTo>
                  <a:cubicBezTo>
                    <a:pt x="130" y="300"/>
                    <a:pt x="126" y="299"/>
                    <a:pt x="122" y="299"/>
                  </a:cubicBezTo>
                  <a:cubicBezTo>
                    <a:pt x="121" y="299"/>
                    <a:pt x="121" y="299"/>
                    <a:pt x="120" y="299"/>
                  </a:cubicBezTo>
                  <a:cubicBezTo>
                    <a:pt x="116" y="299"/>
                    <a:pt x="112" y="298"/>
                    <a:pt x="109" y="298"/>
                  </a:cubicBezTo>
                  <a:cubicBezTo>
                    <a:pt x="108" y="298"/>
                    <a:pt x="108" y="298"/>
                    <a:pt x="107" y="298"/>
                  </a:cubicBezTo>
                  <a:cubicBezTo>
                    <a:pt x="104" y="297"/>
                    <a:pt x="100" y="297"/>
                    <a:pt x="97" y="297"/>
                  </a:cubicBezTo>
                  <a:cubicBezTo>
                    <a:pt x="96" y="296"/>
                    <a:pt x="96" y="296"/>
                    <a:pt x="96" y="296"/>
                  </a:cubicBezTo>
                  <a:cubicBezTo>
                    <a:pt x="92" y="296"/>
                    <a:pt x="89" y="295"/>
                    <a:pt x="85" y="295"/>
                  </a:cubicBezTo>
                  <a:cubicBezTo>
                    <a:pt x="85" y="295"/>
                    <a:pt x="84" y="294"/>
                    <a:pt x="84" y="294"/>
                  </a:cubicBezTo>
                  <a:cubicBezTo>
                    <a:pt x="80" y="294"/>
                    <a:pt x="77" y="293"/>
                    <a:pt x="74" y="292"/>
                  </a:cubicBezTo>
                  <a:cubicBezTo>
                    <a:pt x="73" y="292"/>
                    <a:pt x="73" y="292"/>
                    <a:pt x="73" y="292"/>
                  </a:cubicBezTo>
                  <a:cubicBezTo>
                    <a:pt x="66" y="291"/>
                    <a:pt x="60" y="289"/>
                    <a:pt x="54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0" y="286"/>
                    <a:pt x="47" y="285"/>
                    <a:pt x="45" y="284"/>
                  </a:cubicBezTo>
                  <a:cubicBezTo>
                    <a:pt x="44" y="284"/>
                    <a:pt x="44" y="284"/>
                    <a:pt x="44" y="284"/>
                  </a:cubicBezTo>
                  <a:cubicBezTo>
                    <a:pt x="35" y="280"/>
                    <a:pt x="28" y="277"/>
                    <a:pt x="22" y="273"/>
                  </a:cubicBezTo>
                  <a:cubicBezTo>
                    <a:pt x="22" y="273"/>
                    <a:pt x="22" y="273"/>
                    <a:pt x="22" y="273"/>
                  </a:cubicBezTo>
                  <a:cubicBezTo>
                    <a:pt x="13" y="268"/>
                    <a:pt x="7" y="263"/>
                    <a:pt x="3" y="257"/>
                  </a:cubicBezTo>
                  <a:cubicBezTo>
                    <a:pt x="1" y="254"/>
                    <a:pt x="0" y="250"/>
                    <a:pt x="0" y="246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4"/>
                    <a:pt x="1" y="307"/>
                    <a:pt x="3" y="311"/>
                  </a:cubicBezTo>
                  <a:cubicBezTo>
                    <a:pt x="7" y="317"/>
                    <a:pt x="13" y="322"/>
                    <a:pt x="22" y="327"/>
                  </a:cubicBezTo>
                  <a:cubicBezTo>
                    <a:pt x="22" y="327"/>
                    <a:pt x="22" y="327"/>
                    <a:pt x="22" y="327"/>
                  </a:cubicBezTo>
                  <a:cubicBezTo>
                    <a:pt x="28" y="331"/>
                    <a:pt x="35" y="334"/>
                    <a:pt x="44" y="337"/>
                  </a:cubicBezTo>
                  <a:cubicBezTo>
                    <a:pt x="44" y="337"/>
                    <a:pt x="44" y="338"/>
                    <a:pt x="45" y="338"/>
                  </a:cubicBezTo>
                  <a:cubicBezTo>
                    <a:pt x="47" y="339"/>
                    <a:pt x="50" y="340"/>
                    <a:pt x="53" y="341"/>
                  </a:cubicBezTo>
                  <a:cubicBezTo>
                    <a:pt x="53" y="341"/>
                    <a:pt x="53" y="341"/>
                    <a:pt x="54" y="341"/>
                  </a:cubicBezTo>
                  <a:cubicBezTo>
                    <a:pt x="60" y="343"/>
                    <a:pt x="66" y="344"/>
                    <a:pt x="73" y="346"/>
                  </a:cubicBezTo>
                  <a:cubicBezTo>
                    <a:pt x="73" y="346"/>
                    <a:pt x="73" y="346"/>
                    <a:pt x="74" y="346"/>
                  </a:cubicBezTo>
                  <a:cubicBezTo>
                    <a:pt x="77" y="347"/>
                    <a:pt x="80" y="347"/>
                    <a:pt x="84" y="348"/>
                  </a:cubicBezTo>
                  <a:cubicBezTo>
                    <a:pt x="84" y="348"/>
                    <a:pt x="85" y="348"/>
                    <a:pt x="85" y="348"/>
                  </a:cubicBezTo>
                  <a:cubicBezTo>
                    <a:pt x="89" y="349"/>
                    <a:pt x="92" y="350"/>
                    <a:pt x="96" y="350"/>
                  </a:cubicBezTo>
                  <a:cubicBezTo>
                    <a:pt x="96" y="350"/>
                    <a:pt x="96" y="350"/>
                    <a:pt x="97" y="350"/>
                  </a:cubicBezTo>
                  <a:cubicBezTo>
                    <a:pt x="100" y="351"/>
                    <a:pt x="104" y="351"/>
                    <a:pt x="107" y="352"/>
                  </a:cubicBezTo>
                  <a:cubicBezTo>
                    <a:pt x="108" y="352"/>
                    <a:pt x="108" y="352"/>
                    <a:pt x="109" y="352"/>
                  </a:cubicBezTo>
                  <a:cubicBezTo>
                    <a:pt x="112" y="352"/>
                    <a:pt x="116" y="352"/>
                    <a:pt x="120" y="353"/>
                  </a:cubicBezTo>
                  <a:cubicBezTo>
                    <a:pt x="121" y="353"/>
                    <a:pt x="121" y="353"/>
                    <a:pt x="122" y="353"/>
                  </a:cubicBezTo>
                  <a:cubicBezTo>
                    <a:pt x="126" y="353"/>
                    <a:pt x="130" y="353"/>
                    <a:pt x="134" y="353"/>
                  </a:cubicBezTo>
                  <a:cubicBezTo>
                    <a:pt x="134" y="354"/>
                    <a:pt x="135" y="354"/>
                    <a:pt x="136" y="354"/>
                  </a:cubicBezTo>
                  <a:cubicBezTo>
                    <a:pt x="140" y="354"/>
                    <a:pt x="144" y="354"/>
                    <a:pt x="148" y="354"/>
                  </a:cubicBezTo>
                  <a:cubicBezTo>
                    <a:pt x="153" y="354"/>
                    <a:pt x="157" y="354"/>
                    <a:pt x="161" y="354"/>
                  </a:cubicBezTo>
                  <a:cubicBezTo>
                    <a:pt x="161" y="354"/>
                    <a:pt x="162" y="354"/>
                    <a:pt x="163" y="353"/>
                  </a:cubicBezTo>
                  <a:cubicBezTo>
                    <a:pt x="167" y="353"/>
                    <a:pt x="171" y="353"/>
                    <a:pt x="174" y="353"/>
                  </a:cubicBezTo>
                  <a:cubicBezTo>
                    <a:pt x="175" y="353"/>
                    <a:pt x="176" y="353"/>
                    <a:pt x="177" y="353"/>
                  </a:cubicBezTo>
                  <a:cubicBezTo>
                    <a:pt x="180" y="352"/>
                    <a:pt x="184" y="352"/>
                    <a:pt x="188" y="352"/>
                  </a:cubicBezTo>
                  <a:cubicBezTo>
                    <a:pt x="188" y="352"/>
                    <a:pt x="189" y="352"/>
                    <a:pt x="189" y="352"/>
                  </a:cubicBezTo>
                  <a:cubicBezTo>
                    <a:pt x="193" y="351"/>
                    <a:pt x="196" y="351"/>
                    <a:pt x="200" y="350"/>
                  </a:cubicBezTo>
                  <a:cubicBezTo>
                    <a:pt x="200" y="350"/>
                    <a:pt x="200" y="350"/>
                    <a:pt x="201" y="350"/>
                  </a:cubicBezTo>
                  <a:cubicBezTo>
                    <a:pt x="204" y="350"/>
                    <a:pt x="208" y="349"/>
                    <a:pt x="211" y="348"/>
                  </a:cubicBezTo>
                  <a:cubicBezTo>
                    <a:pt x="212" y="348"/>
                    <a:pt x="212" y="348"/>
                    <a:pt x="213" y="348"/>
                  </a:cubicBezTo>
                  <a:cubicBezTo>
                    <a:pt x="216" y="347"/>
                    <a:pt x="220" y="347"/>
                    <a:pt x="223" y="346"/>
                  </a:cubicBezTo>
                  <a:cubicBezTo>
                    <a:pt x="223" y="346"/>
                    <a:pt x="224" y="346"/>
                    <a:pt x="224" y="346"/>
                  </a:cubicBezTo>
                  <a:cubicBezTo>
                    <a:pt x="231" y="344"/>
                    <a:pt x="237" y="343"/>
                    <a:pt x="243" y="341"/>
                  </a:cubicBezTo>
                  <a:cubicBezTo>
                    <a:pt x="243" y="341"/>
                    <a:pt x="243" y="341"/>
                    <a:pt x="244" y="341"/>
                  </a:cubicBezTo>
                  <a:cubicBezTo>
                    <a:pt x="247" y="340"/>
                    <a:pt x="249" y="339"/>
                    <a:pt x="252" y="338"/>
                  </a:cubicBezTo>
                  <a:cubicBezTo>
                    <a:pt x="252" y="338"/>
                    <a:pt x="253" y="337"/>
                    <a:pt x="253" y="337"/>
                  </a:cubicBezTo>
                  <a:cubicBezTo>
                    <a:pt x="261" y="334"/>
                    <a:pt x="269" y="331"/>
                    <a:pt x="275" y="327"/>
                  </a:cubicBezTo>
                  <a:cubicBezTo>
                    <a:pt x="275" y="327"/>
                    <a:pt x="275" y="327"/>
                    <a:pt x="275" y="327"/>
                  </a:cubicBezTo>
                  <a:cubicBezTo>
                    <a:pt x="289" y="319"/>
                    <a:pt x="297" y="309"/>
                    <a:pt x="297" y="300"/>
                  </a:cubicBezTo>
                  <a:cubicBezTo>
                    <a:pt x="297" y="300"/>
                    <a:pt x="297" y="300"/>
                    <a:pt x="297" y="300"/>
                  </a:cubicBezTo>
                  <a:cubicBezTo>
                    <a:pt x="297" y="297"/>
                    <a:pt x="297" y="297"/>
                    <a:pt x="297" y="297"/>
                  </a:cubicBezTo>
                  <a:cubicBezTo>
                    <a:pt x="311" y="293"/>
                    <a:pt x="324" y="286"/>
                    <a:pt x="335" y="278"/>
                  </a:cubicBezTo>
                  <a:cubicBezTo>
                    <a:pt x="349" y="291"/>
                    <a:pt x="349" y="291"/>
                    <a:pt x="349" y="291"/>
                  </a:cubicBezTo>
                  <a:cubicBezTo>
                    <a:pt x="343" y="297"/>
                    <a:pt x="343" y="297"/>
                    <a:pt x="343" y="297"/>
                  </a:cubicBezTo>
                  <a:cubicBezTo>
                    <a:pt x="423" y="378"/>
                    <a:pt x="423" y="378"/>
                    <a:pt x="423" y="378"/>
                  </a:cubicBezTo>
                  <a:cubicBezTo>
                    <a:pt x="429" y="372"/>
                    <a:pt x="429" y="372"/>
                    <a:pt x="429" y="372"/>
                  </a:cubicBezTo>
                  <a:cubicBezTo>
                    <a:pt x="454" y="347"/>
                    <a:pt x="454" y="347"/>
                    <a:pt x="454" y="347"/>
                  </a:cubicBezTo>
                  <a:cubicBezTo>
                    <a:pt x="454" y="347"/>
                    <a:pt x="454" y="347"/>
                    <a:pt x="454" y="347"/>
                  </a:cubicBezTo>
                  <a:lnTo>
                    <a:pt x="460" y="341"/>
                  </a:lnTo>
                  <a:close/>
                  <a:moveTo>
                    <a:pt x="263" y="276"/>
                  </a:moveTo>
                  <a:cubicBezTo>
                    <a:pt x="210" y="276"/>
                    <a:pt x="167" y="233"/>
                    <a:pt x="167" y="180"/>
                  </a:cubicBezTo>
                  <a:cubicBezTo>
                    <a:pt x="167" y="128"/>
                    <a:pt x="210" y="85"/>
                    <a:pt x="263" y="85"/>
                  </a:cubicBezTo>
                  <a:cubicBezTo>
                    <a:pt x="315" y="85"/>
                    <a:pt x="358" y="128"/>
                    <a:pt x="358" y="180"/>
                  </a:cubicBezTo>
                  <a:cubicBezTo>
                    <a:pt x="358" y="233"/>
                    <a:pt x="315" y="276"/>
                    <a:pt x="263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4" name="Picture Placeholder 18" descr="A picture containing hydrant&#10;&#10;Description automatically generated">
            <a:extLst>
              <a:ext uri="{FF2B5EF4-FFF2-40B4-BE49-F238E27FC236}">
                <a16:creationId xmlns:a16="http://schemas.microsoft.com/office/drawing/2014/main" id="{CF22A7DA-74D8-EC18-AA8D-5AD05836BBA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146" r="3146"/>
          <a:stretch>
            <a:fillRect/>
          </a:stretch>
        </p:blipFill>
        <p:spPr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5205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Bye-Bye</a:t>
            </a:r>
            <a:endParaRPr lang="en-US" dirty="0"/>
          </a:p>
        </p:txBody>
      </p:sp>
      <p:pic>
        <p:nvPicPr>
          <p:cNvPr id="10" name="Picture Placeholder 9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7" r="25007"/>
          <a:stretch>
            <a:fillRect/>
          </a:stretch>
        </p:blipFill>
        <p:spPr/>
      </p:pic>
      <p:sp>
        <p:nvSpPr>
          <p:cNvPr id="16" name="Fußzeilenplatzhalt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55714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na_ZgweD1ko8rL1.XX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fc8cb52-b41a-4dd3-9f00-e1c46af2cd4e"/>
  <p:tag name="MIO_GUID" val="e8fa115a-0403-423d-980b-f3ecf8ed2da7"/>
  <p:tag name="MIO_UPDATE" val="True"/>
  <p:tag name="MIO_VERSION" val="27.08.2018 13:24:16"/>
  <p:tag name="MIO_DBID" val="8E7267AE-489F-4B02-8040-8A98451BF141"/>
  <p:tag name="MIO_LASTDOWNLOADED" val="27.11.2018 19:59:49"/>
  <p:tag name="MIO_OBJECTNAME" val="Pharmaceuticals Headquarters in Berlin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WznM.MLpAUoAuH2LEg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Dx7j_42OiV04neJSl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j3_H_x8pXV7eq2sB_g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TYr9nLNYhUsGe.YfU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ONfchtKbFC_kKNioS_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WC2DfDWGvN9p.J18Xc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9</TotalTime>
  <Words>621</Words>
  <Application>Microsoft Office PowerPoint</Application>
  <PresentationFormat>Widescreen</PresentationFormat>
  <Paragraphs>85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-apple-system</vt:lpstr>
      <vt:lpstr>Arial</vt:lpstr>
      <vt:lpstr>Calibri</vt:lpstr>
      <vt:lpstr>Calibri Light</vt:lpstr>
      <vt:lpstr>Wingdings</vt:lpstr>
      <vt:lpstr>Office Theme</vt:lpstr>
      <vt:lpstr>think-cell Slide</vt:lpstr>
      <vt:lpstr>AI Solution for E-Invoice Document Management</vt:lpstr>
      <vt:lpstr>Agenda</vt:lpstr>
      <vt:lpstr>Current EDM manual checking is time consuming </vt:lpstr>
      <vt:lpstr>Technical Framework</vt:lpstr>
      <vt:lpstr>Main challenges come from input data</vt:lpstr>
      <vt:lpstr>Our project outputs a user-friendly web interface</vt:lpstr>
      <vt:lpstr>We conducted detailed UAT. Some reached expectation but some still needs further optimization </vt:lpstr>
      <vt:lpstr>Next Step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ixian Zhang</dc:creator>
  <cp:lastModifiedBy>Zhixian Zhang</cp:lastModifiedBy>
  <cp:revision>13</cp:revision>
  <dcterms:created xsi:type="dcterms:W3CDTF">2024-06-24T02:32:07Z</dcterms:created>
  <dcterms:modified xsi:type="dcterms:W3CDTF">2024-06-27T05:3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4-06-25T02:47:57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81ba2e9a-218c-4e28-89c2-6b8e0a90c854</vt:lpwstr>
  </property>
  <property fmtid="{D5CDD505-2E9C-101B-9397-08002B2CF9AE}" pid="8" name="MSIP_Label_2c76c141-ac86-40e5-abf2-c6f60e474cee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RESTRICTED</vt:lpwstr>
  </property>
</Properties>
</file>